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617" r:id="rId2"/>
    <p:sldId id="561" r:id="rId3"/>
    <p:sldId id="538" r:id="rId4"/>
    <p:sldId id="544" r:id="rId5"/>
    <p:sldId id="618" r:id="rId6"/>
    <p:sldId id="619" r:id="rId7"/>
    <p:sldId id="623" r:id="rId8"/>
    <p:sldId id="616" r:id="rId9"/>
    <p:sldId id="624" r:id="rId10"/>
    <p:sldId id="625" r:id="rId11"/>
    <p:sldId id="552" r:id="rId12"/>
    <p:sldId id="551" r:id="rId13"/>
    <p:sldId id="564" r:id="rId14"/>
    <p:sldId id="546" r:id="rId15"/>
    <p:sldId id="547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163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21" autoAdjust="0"/>
    <p:restoredTop sz="92718" autoAdjust="0"/>
  </p:normalViewPr>
  <p:slideViewPr>
    <p:cSldViewPr>
      <p:cViewPr varScale="1">
        <p:scale>
          <a:sx n="72" d="100"/>
          <a:sy n="72" d="100"/>
        </p:scale>
        <p:origin x="1440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4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66BBB8-8B7D-4DA0-B93C-E729F6145896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2B787FF3-C44B-4222-A90A-8DDEA5520B25}">
      <dgm:prSet phldrT="[Text]"/>
      <dgm:spPr/>
      <dgm:t>
        <a:bodyPr/>
        <a:lstStyle/>
        <a:p>
          <a:r>
            <a:rPr lang="en-US" dirty="0"/>
            <a:t>1. Identify transaction pairs </a:t>
          </a:r>
        </a:p>
      </dgm:t>
    </dgm:pt>
    <dgm:pt modelId="{32FB1E28-3B2E-4B9C-8C66-88B72F0E71D8}" type="parTrans" cxnId="{B76E7645-E7F4-4CDC-9208-5D98E88A076A}">
      <dgm:prSet/>
      <dgm:spPr/>
      <dgm:t>
        <a:bodyPr/>
        <a:lstStyle/>
        <a:p>
          <a:endParaRPr lang="en-US"/>
        </a:p>
      </dgm:t>
    </dgm:pt>
    <dgm:pt modelId="{9C7F7822-A3F1-4D60-ADE2-B809B0756805}" type="sibTrans" cxnId="{B76E7645-E7F4-4CDC-9208-5D98E88A076A}">
      <dgm:prSet/>
      <dgm:spPr/>
      <dgm:t>
        <a:bodyPr/>
        <a:lstStyle/>
        <a:p>
          <a:endParaRPr lang="en-US"/>
        </a:p>
      </dgm:t>
    </dgm:pt>
    <dgm:pt modelId="{F153EB1D-3DAD-4668-8CCD-4DD5F76A8BA2}">
      <dgm:prSet phldrT="[Text]"/>
      <dgm:spPr/>
      <dgm:t>
        <a:bodyPr/>
        <a:lstStyle/>
        <a:p>
          <a:r>
            <a:rPr lang="en-US" dirty="0"/>
            <a:t>3. Generate aggregate affinity between items</a:t>
          </a:r>
        </a:p>
      </dgm:t>
    </dgm:pt>
    <dgm:pt modelId="{F078D9F0-0812-406E-8457-4E7F69C5ED45}" type="parTrans" cxnId="{C3B038CF-21E2-4916-9B60-B82E70CB2A9F}">
      <dgm:prSet/>
      <dgm:spPr/>
      <dgm:t>
        <a:bodyPr/>
        <a:lstStyle/>
        <a:p>
          <a:endParaRPr lang="en-US"/>
        </a:p>
      </dgm:t>
    </dgm:pt>
    <dgm:pt modelId="{E6BF0611-ACA3-4C8F-83A2-C3959E5B8474}" type="sibTrans" cxnId="{C3B038CF-21E2-4916-9B60-B82E70CB2A9F}">
      <dgm:prSet/>
      <dgm:spPr/>
      <dgm:t>
        <a:bodyPr/>
        <a:lstStyle/>
        <a:p>
          <a:endParaRPr lang="en-US"/>
        </a:p>
      </dgm:t>
    </dgm:pt>
    <dgm:pt modelId="{60B58C1A-E603-4192-AFF0-902A320DC409}">
      <dgm:prSet phldrT="[Text]"/>
      <dgm:spPr/>
      <dgm:t>
        <a:bodyPr/>
        <a:lstStyle/>
        <a:p>
          <a:r>
            <a:rPr lang="en-US" dirty="0"/>
            <a:t>4. Build the affinity matrix</a:t>
          </a:r>
        </a:p>
      </dgm:t>
    </dgm:pt>
    <dgm:pt modelId="{B016D3ED-C3A0-4827-AB6D-AD4F05C552CA}" type="parTrans" cxnId="{81F12C42-1525-44A8-A6B3-6D20BC99D2DA}">
      <dgm:prSet/>
      <dgm:spPr/>
      <dgm:t>
        <a:bodyPr/>
        <a:lstStyle/>
        <a:p>
          <a:endParaRPr lang="en-US"/>
        </a:p>
      </dgm:t>
    </dgm:pt>
    <dgm:pt modelId="{892A3C15-0C7A-4B97-96C4-2E0A4BDB4EDE}" type="sibTrans" cxnId="{81F12C42-1525-44A8-A6B3-6D20BC99D2DA}">
      <dgm:prSet/>
      <dgm:spPr/>
      <dgm:t>
        <a:bodyPr/>
        <a:lstStyle/>
        <a:p>
          <a:endParaRPr lang="en-US"/>
        </a:p>
      </dgm:t>
    </dgm:pt>
    <dgm:pt modelId="{5B11EEBE-B02C-4F70-B8EE-A5A861073E23}">
      <dgm:prSet/>
      <dgm:spPr/>
      <dgm:t>
        <a:bodyPr/>
        <a:lstStyle/>
        <a:p>
          <a:r>
            <a:rPr lang="en-US" dirty="0"/>
            <a:t>2. Build matrix of switching </a:t>
          </a:r>
        </a:p>
      </dgm:t>
    </dgm:pt>
    <dgm:pt modelId="{1A89C261-CF01-4A0B-91AA-BA415817C201}" type="parTrans" cxnId="{5A495BFF-1BD8-43B9-83EC-5741888BFE9B}">
      <dgm:prSet/>
      <dgm:spPr/>
      <dgm:t>
        <a:bodyPr/>
        <a:lstStyle/>
        <a:p>
          <a:endParaRPr lang="en-US"/>
        </a:p>
      </dgm:t>
    </dgm:pt>
    <dgm:pt modelId="{F865CDCE-6C87-4E6E-ADE7-8EEA4C968E49}" type="sibTrans" cxnId="{5A495BFF-1BD8-43B9-83EC-5741888BFE9B}">
      <dgm:prSet/>
      <dgm:spPr/>
      <dgm:t>
        <a:bodyPr/>
        <a:lstStyle/>
        <a:p>
          <a:endParaRPr lang="en-US"/>
        </a:p>
      </dgm:t>
    </dgm:pt>
    <dgm:pt modelId="{C6BFAFF9-D778-4811-919A-7F851D67ED95}">
      <dgm:prSet/>
      <dgm:spPr/>
      <dgm:t>
        <a:bodyPr/>
        <a:lstStyle/>
        <a:p>
          <a:r>
            <a:rPr lang="en-US" dirty="0"/>
            <a:t>5. Populate the Customer Decision Tree</a:t>
          </a:r>
        </a:p>
      </dgm:t>
    </dgm:pt>
    <dgm:pt modelId="{81BBCDC2-2F87-4696-8A15-0E8489D91037}" type="parTrans" cxnId="{A742A4BB-C32F-454D-AB9A-CCA96CF18819}">
      <dgm:prSet/>
      <dgm:spPr/>
      <dgm:t>
        <a:bodyPr/>
        <a:lstStyle/>
        <a:p>
          <a:endParaRPr lang="en-US"/>
        </a:p>
      </dgm:t>
    </dgm:pt>
    <dgm:pt modelId="{0C5CAE21-F5A9-4C5D-B304-5F8D8988F12E}" type="sibTrans" cxnId="{A742A4BB-C32F-454D-AB9A-CCA96CF18819}">
      <dgm:prSet/>
      <dgm:spPr/>
      <dgm:t>
        <a:bodyPr/>
        <a:lstStyle/>
        <a:p>
          <a:endParaRPr lang="en-US"/>
        </a:p>
      </dgm:t>
    </dgm:pt>
    <dgm:pt modelId="{4AFBB5CA-9912-4E9E-96A8-F5994DA0F284}" type="pres">
      <dgm:prSet presAssocID="{C466BBB8-8B7D-4DA0-B93C-E729F6145896}" presName="CompostProcess" presStyleCnt="0">
        <dgm:presLayoutVars>
          <dgm:dir/>
          <dgm:resizeHandles val="exact"/>
        </dgm:presLayoutVars>
      </dgm:prSet>
      <dgm:spPr/>
    </dgm:pt>
    <dgm:pt modelId="{B7348081-1031-4F71-9194-FC659BCB7837}" type="pres">
      <dgm:prSet presAssocID="{C466BBB8-8B7D-4DA0-B93C-E729F6145896}" presName="arrow" presStyleLbl="bgShp" presStyleIdx="0" presStyleCnt="1"/>
      <dgm:spPr/>
    </dgm:pt>
    <dgm:pt modelId="{85E20611-5555-4137-B212-FE8A4C96CCE3}" type="pres">
      <dgm:prSet presAssocID="{C466BBB8-8B7D-4DA0-B93C-E729F6145896}" presName="linearProcess" presStyleCnt="0"/>
      <dgm:spPr/>
    </dgm:pt>
    <dgm:pt modelId="{3605FE51-1093-4262-B2EA-705FE415C197}" type="pres">
      <dgm:prSet presAssocID="{2B787FF3-C44B-4222-A90A-8DDEA5520B25}" presName="textNode" presStyleLbl="node1" presStyleIdx="0" presStyleCnt="5">
        <dgm:presLayoutVars>
          <dgm:bulletEnabled val="1"/>
        </dgm:presLayoutVars>
      </dgm:prSet>
      <dgm:spPr/>
    </dgm:pt>
    <dgm:pt modelId="{8D5630D1-C8EC-4E68-932E-0A26E44D60DC}" type="pres">
      <dgm:prSet presAssocID="{9C7F7822-A3F1-4D60-ADE2-B809B0756805}" presName="sibTrans" presStyleCnt="0"/>
      <dgm:spPr/>
    </dgm:pt>
    <dgm:pt modelId="{8B6DA0AE-5816-444E-95CC-A509778AC576}" type="pres">
      <dgm:prSet presAssocID="{5B11EEBE-B02C-4F70-B8EE-A5A861073E23}" presName="textNode" presStyleLbl="node1" presStyleIdx="1" presStyleCnt="5">
        <dgm:presLayoutVars>
          <dgm:bulletEnabled val="1"/>
        </dgm:presLayoutVars>
      </dgm:prSet>
      <dgm:spPr/>
    </dgm:pt>
    <dgm:pt modelId="{E0E0ADFB-8A6F-4788-852F-057668C37DD3}" type="pres">
      <dgm:prSet presAssocID="{F865CDCE-6C87-4E6E-ADE7-8EEA4C968E49}" presName="sibTrans" presStyleCnt="0"/>
      <dgm:spPr/>
    </dgm:pt>
    <dgm:pt modelId="{0552D0D4-8BA4-4BF7-A05E-B2CC1A24E751}" type="pres">
      <dgm:prSet presAssocID="{F153EB1D-3DAD-4668-8CCD-4DD5F76A8BA2}" presName="textNode" presStyleLbl="node1" presStyleIdx="2" presStyleCnt="5">
        <dgm:presLayoutVars>
          <dgm:bulletEnabled val="1"/>
        </dgm:presLayoutVars>
      </dgm:prSet>
      <dgm:spPr/>
    </dgm:pt>
    <dgm:pt modelId="{FB76731E-DF74-4DAE-88A4-36A0AE08C079}" type="pres">
      <dgm:prSet presAssocID="{E6BF0611-ACA3-4C8F-83A2-C3959E5B8474}" presName="sibTrans" presStyleCnt="0"/>
      <dgm:spPr/>
    </dgm:pt>
    <dgm:pt modelId="{4CA3B96A-BCF1-41AE-A289-A94488116E67}" type="pres">
      <dgm:prSet presAssocID="{60B58C1A-E603-4192-AFF0-902A320DC409}" presName="textNode" presStyleLbl="node1" presStyleIdx="3" presStyleCnt="5">
        <dgm:presLayoutVars>
          <dgm:bulletEnabled val="1"/>
        </dgm:presLayoutVars>
      </dgm:prSet>
      <dgm:spPr/>
    </dgm:pt>
    <dgm:pt modelId="{A3614A88-7DAD-4747-9E66-ED55D28AA180}" type="pres">
      <dgm:prSet presAssocID="{892A3C15-0C7A-4B97-96C4-2E0A4BDB4EDE}" presName="sibTrans" presStyleCnt="0"/>
      <dgm:spPr/>
    </dgm:pt>
    <dgm:pt modelId="{D30F98C1-50B4-4114-87B5-8BC264B7ACFD}" type="pres">
      <dgm:prSet presAssocID="{C6BFAFF9-D778-4811-919A-7F851D67ED9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E6D34518-F860-4A62-ACC8-7E8100FD2E93}" type="presOf" srcId="{5B11EEBE-B02C-4F70-B8EE-A5A861073E23}" destId="{8B6DA0AE-5816-444E-95CC-A509778AC576}" srcOrd="0" destOrd="0" presId="urn:microsoft.com/office/officeart/2005/8/layout/hProcess9"/>
    <dgm:cxn modelId="{C43BC31B-1632-45E5-B41B-FCB66507E7BE}" type="presOf" srcId="{60B58C1A-E603-4192-AFF0-902A320DC409}" destId="{4CA3B96A-BCF1-41AE-A289-A94488116E67}" srcOrd="0" destOrd="0" presId="urn:microsoft.com/office/officeart/2005/8/layout/hProcess9"/>
    <dgm:cxn modelId="{4F72693A-2766-4EB1-9830-0C792ED8AACC}" type="presOf" srcId="{C466BBB8-8B7D-4DA0-B93C-E729F6145896}" destId="{4AFBB5CA-9912-4E9E-96A8-F5994DA0F284}" srcOrd="0" destOrd="0" presId="urn:microsoft.com/office/officeart/2005/8/layout/hProcess9"/>
    <dgm:cxn modelId="{74ECB63B-7485-40D6-8841-2BB840F9C105}" type="presOf" srcId="{F153EB1D-3DAD-4668-8CCD-4DD5F76A8BA2}" destId="{0552D0D4-8BA4-4BF7-A05E-B2CC1A24E751}" srcOrd="0" destOrd="0" presId="urn:microsoft.com/office/officeart/2005/8/layout/hProcess9"/>
    <dgm:cxn modelId="{81F12C42-1525-44A8-A6B3-6D20BC99D2DA}" srcId="{C466BBB8-8B7D-4DA0-B93C-E729F6145896}" destId="{60B58C1A-E603-4192-AFF0-902A320DC409}" srcOrd="3" destOrd="0" parTransId="{B016D3ED-C3A0-4827-AB6D-AD4F05C552CA}" sibTransId="{892A3C15-0C7A-4B97-96C4-2E0A4BDB4EDE}"/>
    <dgm:cxn modelId="{B76E7645-E7F4-4CDC-9208-5D98E88A076A}" srcId="{C466BBB8-8B7D-4DA0-B93C-E729F6145896}" destId="{2B787FF3-C44B-4222-A90A-8DDEA5520B25}" srcOrd="0" destOrd="0" parTransId="{32FB1E28-3B2E-4B9C-8C66-88B72F0E71D8}" sibTransId="{9C7F7822-A3F1-4D60-ADE2-B809B0756805}"/>
    <dgm:cxn modelId="{5FCA62A0-B723-4A6A-BC16-30399F30B596}" type="presOf" srcId="{C6BFAFF9-D778-4811-919A-7F851D67ED95}" destId="{D30F98C1-50B4-4114-87B5-8BC264B7ACFD}" srcOrd="0" destOrd="0" presId="urn:microsoft.com/office/officeart/2005/8/layout/hProcess9"/>
    <dgm:cxn modelId="{A742A4BB-C32F-454D-AB9A-CCA96CF18819}" srcId="{C466BBB8-8B7D-4DA0-B93C-E729F6145896}" destId="{C6BFAFF9-D778-4811-919A-7F851D67ED95}" srcOrd="4" destOrd="0" parTransId="{81BBCDC2-2F87-4696-8A15-0E8489D91037}" sibTransId="{0C5CAE21-F5A9-4C5D-B304-5F8D8988F12E}"/>
    <dgm:cxn modelId="{C3B038CF-21E2-4916-9B60-B82E70CB2A9F}" srcId="{C466BBB8-8B7D-4DA0-B93C-E729F6145896}" destId="{F153EB1D-3DAD-4668-8CCD-4DD5F76A8BA2}" srcOrd="2" destOrd="0" parTransId="{F078D9F0-0812-406E-8457-4E7F69C5ED45}" sibTransId="{E6BF0611-ACA3-4C8F-83A2-C3959E5B8474}"/>
    <dgm:cxn modelId="{2B7524E3-F2A1-4EAE-99A2-FBBF2DA50F0D}" type="presOf" srcId="{2B787FF3-C44B-4222-A90A-8DDEA5520B25}" destId="{3605FE51-1093-4262-B2EA-705FE415C197}" srcOrd="0" destOrd="0" presId="urn:microsoft.com/office/officeart/2005/8/layout/hProcess9"/>
    <dgm:cxn modelId="{5A495BFF-1BD8-43B9-83EC-5741888BFE9B}" srcId="{C466BBB8-8B7D-4DA0-B93C-E729F6145896}" destId="{5B11EEBE-B02C-4F70-B8EE-A5A861073E23}" srcOrd="1" destOrd="0" parTransId="{1A89C261-CF01-4A0B-91AA-BA415817C201}" sibTransId="{F865CDCE-6C87-4E6E-ADE7-8EEA4C968E49}"/>
    <dgm:cxn modelId="{C1109942-E14B-4620-AC9B-3310A36E6A2F}" type="presParOf" srcId="{4AFBB5CA-9912-4E9E-96A8-F5994DA0F284}" destId="{B7348081-1031-4F71-9194-FC659BCB7837}" srcOrd="0" destOrd="0" presId="urn:microsoft.com/office/officeart/2005/8/layout/hProcess9"/>
    <dgm:cxn modelId="{40397F4D-E6B8-4D43-AFA4-1ABEDBF44391}" type="presParOf" srcId="{4AFBB5CA-9912-4E9E-96A8-F5994DA0F284}" destId="{85E20611-5555-4137-B212-FE8A4C96CCE3}" srcOrd="1" destOrd="0" presId="urn:microsoft.com/office/officeart/2005/8/layout/hProcess9"/>
    <dgm:cxn modelId="{F367D3B5-0DA2-4B69-B27F-861F89EF2DB2}" type="presParOf" srcId="{85E20611-5555-4137-B212-FE8A4C96CCE3}" destId="{3605FE51-1093-4262-B2EA-705FE415C197}" srcOrd="0" destOrd="0" presId="urn:microsoft.com/office/officeart/2005/8/layout/hProcess9"/>
    <dgm:cxn modelId="{36CE5624-F20D-40AB-ACFD-0B0EE9FF7846}" type="presParOf" srcId="{85E20611-5555-4137-B212-FE8A4C96CCE3}" destId="{8D5630D1-C8EC-4E68-932E-0A26E44D60DC}" srcOrd="1" destOrd="0" presId="urn:microsoft.com/office/officeart/2005/8/layout/hProcess9"/>
    <dgm:cxn modelId="{90A264A0-04D3-4968-ACF0-AEA3585CCCB8}" type="presParOf" srcId="{85E20611-5555-4137-B212-FE8A4C96CCE3}" destId="{8B6DA0AE-5816-444E-95CC-A509778AC576}" srcOrd="2" destOrd="0" presId="urn:microsoft.com/office/officeart/2005/8/layout/hProcess9"/>
    <dgm:cxn modelId="{AB11F02B-B374-4754-B60D-09B628554F82}" type="presParOf" srcId="{85E20611-5555-4137-B212-FE8A4C96CCE3}" destId="{E0E0ADFB-8A6F-4788-852F-057668C37DD3}" srcOrd="3" destOrd="0" presId="urn:microsoft.com/office/officeart/2005/8/layout/hProcess9"/>
    <dgm:cxn modelId="{4A22BFE4-7018-4AF3-95BD-449DADD6E841}" type="presParOf" srcId="{85E20611-5555-4137-B212-FE8A4C96CCE3}" destId="{0552D0D4-8BA4-4BF7-A05E-B2CC1A24E751}" srcOrd="4" destOrd="0" presId="urn:microsoft.com/office/officeart/2005/8/layout/hProcess9"/>
    <dgm:cxn modelId="{49453AD0-EF71-440F-85DB-E5D1DB7E1989}" type="presParOf" srcId="{85E20611-5555-4137-B212-FE8A4C96CCE3}" destId="{FB76731E-DF74-4DAE-88A4-36A0AE08C079}" srcOrd="5" destOrd="0" presId="urn:microsoft.com/office/officeart/2005/8/layout/hProcess9"/>
    <dgm:cxn modelId="{569BD7A5-F189-430A-A1CF-F58415C3E1EF}" type="presParOf" srcId="{85E20611-5555-4137-B212-FE8A4C96CCE3}" destId="{4CA3B96A-BCF1-41AE-A289-A94488116E67}" srcOrd="6" destOrd="0" presId="urn:microsoft.com/office/officeart/2005/8/layout/hProcess9"/>
    <dgm:cxn modelId="{D7634A77-E597-4DE9-A228-5612E150C06B}" type="presParOf" srcId="{85E20611-5555-4137-B212-FE8A4C96CCE3}" destId="{A3614A88-7DAD-4747-9E66-ED55D28AA180}" srcOrd="7" destOrd="0" presId="urn:microsoft.com/office/officeart/2005/8/layout/hProcess9"/>
    <dgm:cxn modelId="{6C78BD42-4B0B-4104-9FFB-BB8F1123BBCF}" type="presParOf" srcId="{85E20611-5555-4137-B212-FE8A4C96CCE3}" destId="{D30F98C1-50B4-4114-87B5-8BC264B7ACFD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348081-1031-4F71-9194-FC659BCB7837}">
      <dsp:nvSpPr>
        <dsp:cNvPr id="0" name=""/>
        <dsp:cNvSpPr/>
      </dsp:nvSpPr>
      <dsp:spPr>
        <a:xfrm>
          <a:off x="402719" y="0"/>
          <a:ext cx="4564151" cy="297906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05FE51-1093-4262-B2EA-705FE415C197}">
      <dsp:nvSpPr>
        <dsp:cNvPr id="0" name=""/>
        <dsp:cNvSpPr/>
      </dsp:nvSpPr>
      <dsp:spPr>
        <a:xfrm>
          <a:off x="2359" y="893720"/>
          <a:ext cx="1031705" cy="1191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1. Identify transaction pairs </a:t>
          </a:r>
        </a:p>
      </dsp:txBody>
      <dsp:txXfrm>
        <a:off x="52723" y="944084"/>
        <a:ext cx="930977" cy="1090898"/>
      </dsp:txXfrm>
    </dsp:sp>
    <dsp:sp modelId="{8B6DA0AE-5816-444E-95CC-A509778AC576}">
      <dsp:nvSpPr>
        <dsp:cNvPr id="0" name=""/>
        <dsp:cNvSpPr/>
      </dsp:nvSpPr>
      <dsp:spPr>
        <a:xfrm>
          <a:off x="1085650" y="893720"/>
          <a:ext cx="1031705" cy="1191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2. Build matrix of switching </a:t>
          </a:r>
        </a:p>
      </dsp:txBody>
      <dsp:txXfrm>
        <a:off x="1136014" y="944084"/>
        <a:ext cx="930977" cy="1090898"/>
      </dsp:txXfrm>
    </dsp:sp>
    <dsp:sp modelId="{0552D0D4-8BA4-4BF7-A05E-B2CC1A24E751}">
      <dsp:nvSpPr>
        <dsp:cNvPr id="0" name=""/>
        <dsp:cNvSpPr/>
      </dsp:nvSpPr>
      <dsp:spPr>
        <a:xfrm>
          <a:off x="2168942" y="893720"/>
          <a:ext cx="1031705" cy="1191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3. Generate aggregate affinity between items</a:t>
          </a:r>
        </a:p>
      </dsp:txBody>
      <dsp:txXfrm>
        <a:off x="2219306" y="944084"/>
        <a:ext cx="930977" cy="1090898"/>
      </dsp:txXfrm>
    </dsp:sp>
    <dsp:sp modelId="{4CA3B96A-BCF1-41AE-A289-A94488116E67}">
      <dsp:nvSpPr>
        <dsp:cNvPr id="0" name=""/>
        <dsp:cNvSpPr/>
      </dsp:nvSpPr>
      <dsp:spPr>
        <a:xfrm>
          <a:off x="3252233" y="893720"/>
          <a:ext cx="1031705" cy="1191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4. Build the affinity matrix</a:t>
          </a:r>
        </a:p>
      </dsp:txBody>
      <dsp:txXfrm>
        <a:off x="3302597" y="944084"/>
        <a:ext cx="930977" cy="1090898"/>
      </dsp:txXfrm>
    </dsp:sp>
    <dsp:sp modelId="{D30F98C1-50B4-4114-87B5-8BC264B7ACFD}">
      <dsp:nvSpPr>
        <dsp:cNvPr id="0" name=""/>
        <dsp:cNvSpPr/>
      </dsp:nvSpPr>
      <dsp:spPr>
        <a:xfrm>
          <a:off x="4335524" y="893720"/>
          <a:ext cx="1031705" cy="1191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5. Populate the Customer Decision Tree</a:t>
          </a:r>
        </a:p>
      </dsp:txBody>
      <dsp:txXfrm>
        <a:off x="4385888" y="944084"/>
        <a:ext cx="930977" cy="10908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2" Type="http://schemas.openxmlformats.org/officeDocument/2006/relationships/image" Target="../media/image7.emf"/><Relationship Id="rId1" Type="http://schemas.openxmlformats.org/officeDocument/2006/relationships/image" Target="../media/image6.emf"/><Relationship Id="rId6" Type="http://schemas.openxmlformats.org/officeDocument/2006/relationships/image" Target="../media/image11.emf"/><Relationship Id="rId11" Type="http://schemas.openxmlformats.org/officeDocument/2006/relationships/image" Target="../media/image16.emf"/><Relationship Id="rId5" Type="http://schemas.openxmlformats.org/officeDocument/2006/relationships/image" Target="../media/image10.emf"/><Relationship Id="rId10" Type="http://schemas.openxmlformats.org/officeDocument/2006/relationships/image" Target="../media/image15.emf"/><Relationship Id="rId4" Type="http://schemas.openxmlformats.org/officeDocument/2006/relationships/image" Target="../media/image9.emf"/><Relationship Id="rId9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image" Target="../media/image20.emf"/><Relationship Id="rId7" Type="http://schemas.openxmlformats.org/officeDocument/2006/relationships/image" Target="../media/image24.emf"/><Relationship Id="rId12" Type="http://schemas.openxmlformats.org/officeDocument/2006/relationships/image" Target="../media/image29.emf"/><Relationship Id="rId2" Type="http://schemas.openxmlformats.org/officeDocument/2006/relationships/image" Target="../media/image19.emf"/><Relationship Id="rId1" Type="http://schemas.openxmlformats.org/officeDocument/2006/relationships/image" Target="../media/image18.emf"/><Relationship Id="rId6" Type="http://schemas.openxmlformats.org/officeDocument/2006/relationships/image" Target="../media/image23.emf"/><Relationship Id="rId11" Type="http://schemas.openxmlformats.org/officeDocument/2006/relationships/image" Target="../media/image28.emf"/><Relationship Id="rId5" Type="http://schemas.openxmlformats.org/officeDocument/2006/relationships/image" Target="../media/image22.emf"/><Relationship Id="rId10" Type="http://schemas.openxmlformats.org/officeDocument/2006/relationships/image" Target="../media/image27.emf"/><Relationship Id="rId4" Type="http://schemas.openxmlformats.org/officeDocument/2006/relationships/image" Target="../media/image21.emf"/><Relationship Id="rId9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8C9139-5407-4C7D-8B69-B5C155DBEBCC}" type="datetimeFigureOut">
              <a:rPr lang="en-US" smtClean="0"/>
              <a:t>2/2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B9B3EE-A37A-46B2-913F-839C104BBB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587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02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308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645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647B00-B133-42A7-AAEE-C44CA43EFC49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689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647B00-B133-42A7-AAEE-C44CA43EFC49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689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812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8772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247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910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031" y="1092169"/>
            <a:ext cx="77724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6031" y="1712889"/>
            <a:ext cx="7777269" cy="438156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 descr="IRI_logo_tagline_RGB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187735" y="5608495"/>
            <a:ext cx="1510233" cy="650217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68313" y="5723766"/>
            <a:ext cx="3738558" cy="620739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buNone/>
              <a:defRPr sz="1200" b="1">
                <a:solidFill>
                  <a:schemeClr val="accent1"/>
                </a:solidFill>
              </a:defRPr>
            </a:lvl1pPr>
            <a:lvl2pPr marL="0">
              <a:lnSpc>
                <a:spcPts val="1500"/>
              </a:lnSpc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6400800"/>
            <a:ext cx="3738558" cy="21910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68313" y="5437215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67544" y="4149080"/>
            <a:ext cx="2386583" cy="11049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i="1"/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client logo </a:t>
            </a:r>
            <a:br>
              <a:rPr lang="en-US" dirty="0"/>
            </a:br>
            <a:r>
              <a:rPr lang="en-US" dirty="0"/>
              <a:t>here </a:t>
            </a:r>
          </a:p>
        </p:txBody>
      </p:sp>
    </p:spTree>
    <p:extLst>
      <p:ext uri="{BB962C8B-B14F-4D97-AF65-F5344CB8AC3E}">
        <p14:creationId xmlns:p14="http://schemas.microsoft.com/office/powerpoint/2010/main" val="21747851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 slide w/o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50812"/>
            <a:ext cx="7839126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9744893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Graphic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50812"/>
            <a:ext cx="8229600" cy="63181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aseline="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223300" y="64465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68313" y="1092168"/>
            <a:ext cx="8207375" cy="158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11178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0812"/>
            <a:ext cx="8229600" cy="63181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1693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8223300" y="64465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0900" y="4597417"/>
            <a:ext cx="77724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5218137"/>
            <a:ext cx="7777269" cy="43815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68313" y="4413263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81239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8223300" y="64465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0900" y="4597417"/>
            <a:ext cx="77724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5218137"/>
            <a:ext cx="7777269" cy="43815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68313" y="4413263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92798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8223300" y="64465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0900" y="4597417"/>
            <a:ext cx="77724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5218137"/>
            <a:ext cx="7777269" cy="43815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68313" y="4413263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214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031" y="1092169"/>
            <a:ext cx="77724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6031" y="1712889"/>
            <a:ext cx="7777269" cy="43815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 descr="IRI_logo_tagline_RGB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187735" y="5608495"/>
            <a:ext cx="1510233" cy="650217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68313" y="5723766"/>
            <a:ext cx="3738558" cy="620739"/>
          </a:xfrm>
        </p:spPr>
        <p:txBody>
          <a:bodyPr>
            <a:normAutofit/>
          </a:bodyPr>
          <a:lstStyle>
            <a:lvl1pPr>
              <a:lnSpc>
                <a:spcPts val="1500"/>
              </a:lnSpc>
              <a:buNone/>
              <a:defRPr sz="1200" b="1">
                <a:solidFill>
                  <a:schemeClr val="accent1"/>
                </a:solidFill>
              </a:defRPr>
            </a:lvl1pPr>
            <a:lvl2pPr marL="0">
              <a:lnSpc>
                <a:spcPts val="1500"/>
              </a:lnSpc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6400800"/>
            <a:ext cx="3738558" cy="21910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68313" y="5437215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07553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75487" y="1142999"/>
            <a:ext cx="8247888" cy="5020055"/>
          </a:xfrm>
        </p:spPr>
        <p:txBody>
          <a:bodyPr>
            <a:normAutofit/>
          </a:bodyPr>
          <a:lstStyle>
            <a:lvl1pPr>
              <a:buClrTx/>
              <a:defRPr sz="2000"/>
            </a:lvl1pPr>
            <a:lvl2pPr>
              <a:buClrTx/>
              <a:defRPr sz="1800"/>
            </a:lvl2pPr>
            <a:lvl3pPr>
              <a:buClrTx/>
              <a:defRPr sz="1600"/>
            </a:lvl3pPr>
            <a:lvl4pPr>
              <a:buClrTx/>
              <a:defRPr sz="1400"/>
            </a:lvl4pPr>
            <a:lvl5pPr>
              <a:buClrTx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7966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0812"/>
            <a:ext cx="8218488" cy="63181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3038" indent="-173038">
              <a:lnSpc>
                <a:spcPts val="2400"/>
              </a:lnSpc>
              <a:defRPr sz="1800"/>
            </a:lvl1pPr>
            <a:lvl2pPr marL="512763" indent="-166688">
              <a:lnSpc>
                <a:spcPts val="2000"/>
              </a:lnSpc>
              <a:defRPr sz="1400"/>
            </a:lvl2pPr>
            <a:lvl3pPr marL="858838" indent="-173038">
              <a:lnSpc>
                <a:spcPts val="2000"/>
              </a:lnSpc>
              <a:tabLst/>
              <a:defRPr sz="1400"/>
            </a:lvl3pPr>
            <a:lvl4pPr marL="1198563" indent="-166688">
              <a:lnSpc>
                <a:spcPts val="2000"/>
              </a:lnSpc>
              <a:defRPr/>
            </a:lvl4pPr>
            <a:lvl5pPr marL="1544638" indent="-173038">
              <a:lnSpc>
                <a:spcPts val="2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68313" y="836577"/>
            <a:ext cx="8207375" cy="158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20864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320042" y="1126935"/>
            <a:ext cx="8503919" cy="330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263120" indent="0">
              <a:buNone/>
              <a:defRPr/>
            </a:lvl2pPr>
            <a:lvl3pPr marL="506003" indent="0">
              <a:buNone/>
              <a:defRPr/>
            </a:lvl3pPr>
            <a:lvl4pPr marL="1028674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320040" y="486569"/>
            <a:ext cx="850392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 bwMode="gray">
          <a:xfrm>
            <a:off x="320040" y="1623637"/>
            <a:ext cx="8366760" cy="44783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5773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8223300" y="64465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0900" y="4597417"/>
            <a:ext cx="6569372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5218137"/>
            <a:ext cx="6573487" cy="438156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68313" y="4413263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0900" y="4005064"/>
            <a:ext cx="3738558" cy="288031"/>
          </a:xfrm>
        </p:spPr>
        <p:txBody>
          <a:bodyPr anchor="ctr">
            <a:noAutofit/>
          </a:bodyPr>
          <a:lstStyle>
            <a:lvl1pPr>
              <a:lnSpc>
                <a:spcPts val="1500"/>
              </a:lnSpc>
              <a:buNone/>
              <a:defRPr sz="1100" b="0" baseline="0">
                <a:solidFill>
                  <a:schemeClr val="tx1"/>
                </a:solidFill>
              </a:defRPr>
            </a:lvl1pPr>
            <a:lvl2pPr marL="0">
              <a:lnSpc>
                <a:spcPts val="1500"/>
              </a:lnSpc>
              <a:buNone/>
              <a:defRPr sz="11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SECTION NUMBER HERE</a:t>
            </a:r>
          </a:p>
        </p:txBody>
      </p:sp>
      <p:pic>
        <p:nvPicPr>
          <p:cNvPr id="7" name="Picture 6" descr="IRI Logo copy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729" y="4576881"/>
            <a:ext cx="1582032" cy="680810"/>
          </a:xfrm>
          <a:prstGeom prst="rect">
            <a:avLst/>
          </a:prstGeom>
        </p:spPr>
      </p:pic>
      <p:sp>
        <p:nvSpPr>
          <p:cNvPr id="10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6300192" y="3140968"/>
            <a:ext cx="2386583" cy="11049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i="1"/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client logo </a:t>
            </a:r>
            <a:br>
              <a:rPr lang="en-US" dirty="0"/>
            </a:br>
            <a:r>
              <a:rPr lang="en-US" dirty="0"/>
              <a:t>here </a:t>
            </a:r>
          </a:p>
        </p:txBody>
      </p:sp>
    </p:spTree>
    <p:extLst>
      <p:ext uri="{BB962C8B-B14F-4D97-AF65-F5344CB8AC3E}">
        <p14:creationId xmlns:p14="http://schemas.microsoft.com/office/powerpoint/2010/main" val="3122150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ith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50812"/>
            <a:ext cx="8218488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1340" y="1283368"/>
            <a:ext cx="8248453" cy="488248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498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/o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50812"/>
            <a:ext cx="7839126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693221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Graphic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50812"/>
            <a:ext cx="8229600" cy="63181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aseline="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223300" y="64465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68313" y="1092168"/>
            <a:ext cx="8207375" cy="158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6821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031" y="1092169"/>
            <a:ext cx="77724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6031" y="1712889"/>
            <a:ext cx="7777269" cy="43815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 descr="IRI_logo_tagline_RGB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187735" y="5608495"/>
            <a:ext cx="1510233" cy="650217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68313" y="5723766"/>
            <a:ext cx="3738558" cy="620739"/>
          </a:xfrm>
        </p:spPr>
        <p:txBody>
          <a:bodyPr>
            <a:normAutofit/>
          </a:bodyPr>
          <a:lstStyle>
            <a:lvl1pPr>
              <a:lnSpc>
                <a:spcPts val="1500"/>
              </a:lnSpc>
              <a:buNone/>
              <a:defRPr sz="1200" b="1">
                <a:solidFill>
                  <a:schemeClr val="accent1"/>
                </a:solidFill>
              </a:defRPr>
            </a:lvl1pPr>
            <a:lvl2pPr marL="0">
              <a:lnSpc>
                <a:spcPts val="1500"/>
              </a:lnSpc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6400800"/>
            <a:ext cx="3738558" cy="21910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68313" y="5437215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8204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031" y="1092169"/>
            <a:ext cx="77724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6031" y="1712889"/>
            <a:ext cx="7777269" cy="438156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 descr="IRI_logo_tagline_RGB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187735" y="5608495"/>
            <a:ext cx="1510233" cy="650217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68313" y="5723766"/>
            <a:ext cx="3738558" cy="620739"/>
          </a:xfrm>
        </p:spPr>
        <p:txBody>
          <a:bodyPr>
            <a:noAutofit/>
          </a:bodyPr>
          <a:lstStyle>
            <a:lvl1pPr>
              <a:lnSpc>
                <a:spcPts val="1500"/>
              </a:lnSpc>
              <a:buNone/>
              <a:defRPr sz="1200" b="1">
                <a:solidFill>
                  <a:schemeClr val="accent1"/>
                </a:solidFill>
              </a:defRPr>
            </a:lvl1pPr>
            <a:lvl2pPr marL="0">
              <a:lnSpc>
                <a:spcPts val="1500"/>
              </a:lnSpc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6400800"/>
            <a:ext cx="3738558" cy="21910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68313" y="5437215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67544" y="4149080"/>
            <a:ext cx="2386583" cy="11049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i="1"/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client logo </a:t>
            </a:r>
            <a:br>
              <a:rPr lang="en-US" dirty="0"/>
            </a:br>
            <a:r>
              <a:rPr lang="en-US" dirty="0"/>
              <a:t>here </a:t>
            </a:r>
          </a:p>
        </p:txBody>
      </p:sp>
    </p:spTree>
    <p:extLst>
      <p:ext uri="{BB962C8B-B14F-4D97-AF65-F5344CB8AC3E}">
        <p14:creationId xmlns:p14="http://schemas.microsoft.com/office/powerpoint/2010/main" val="378028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8223300" y="64465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0900" y="4597417"/>
            <a:ext cx="6569372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spc="-1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57200" y="5218137"/>
            <a:ext cx="6573487" cy="438156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68313" y="4413263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0900" y="4005064"/>
            <a:ext cx="3738558" cy="288031"/>
          </a:xfrm>
        </p:spPr>
        <p:txBody>
          <a:bodyPr anchor="ctr">
            <a:noAutofit/>
          </a:bodyPr>
          <a:lstStyle>
            <a:lvl1pPr>
              <a:lnSpc>
                <a:spcPts val="1500"/>
              </a:lnSpc>
              <a:buNone/>
              <a:defRPr sz="1100" b="0" baseline="0">
                <a:solidFill>
                  <a:schemeClr val="tx1"/>
                </a:solidFill>
              </a:defRPr>
            </a:lvl1pPr>
            <a:lvl2pPr marL="0">
              <a:lnSpc>
                <a:spcPts val="1500"/>
              </a:lnSpc>
              <a:buNone/>
              <a:defRPr sz="11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SECTION NUMBER HERE</a:t>
            </a:r>
          </a:p>
        </p:txBody>
      </p:sp>
      <p:pic>
        <p:nvPicPr>
          <p:cNvPr id="7" name="Picture 6" descr="IRI Logo copy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729" y="4576881"/>
            <a:ext cx="1582032" cy="680810"/>
          </a:xfrm>
          <a:prstGeom prst="rect">
            <a:avLst/>
          </a:prstGeom>
        </p:spPr>
      </p:pic>
      <p:sp>
        <p:nvSpPr>
          <p:cNvPr id="10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6300192" y="3140968"/>
            <a:ext cx="2386583" cy="11049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600" i="1"/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client logo </a:t>
            </a:r>
            <a:br>
              <a:rPr lang="en-US" dirty="0"/>
            </a:br>
            <a:r>
              <a:rPr lang="en-US" dirty="0"/>
              <a:t>here </a:t>
            </a:r>
          </a:p>
        </p:txBody>
      </p:sp>
    </p:spTree>
    <p:extLst>
      <p:ext uri="{BB962C8B-B14F-4D97-AF65-F5344CB8AC3E}">
        <p14:creationId xmlns:p14="http://schemas.microsoft.com/office/powerpoint/2010/main" val="1421026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with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50812"/>
            <a:ext cx="8218488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1340" y="1283368"/>
            <a:ext cx="8248453" cy="488248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76649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ltGray">
          <a:xfrm>
            <a:off x="0" y="6263640"/>
            <a:ext cx="9144000" cy="594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4733"/>
            <a:ext cx="8229600" cy="49282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3" name="Picture 22" descr="IRI_logo_RGB.wmf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464757" y="6386553"/>
            <a:ext cx="645054" cy="348492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3706046" y="6459642"/>
            <a:ext cx="4699819" cy="20005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700" dirty="0">
                <a:solidFill>
                  <a:srgbClr val="616365"/>
                </a:solidFill>
              </a:rPr>
              <a:t>Copyright © 2015 Information Resources, Inc. (IRI). Confidential and Proprietary.</a:t>
            </a:r>
          </a:p>
        </p:txBody>
      </p:sp>
      <p:sp>
        <p:nvSpPr>
          <p:cNvPr id="29" name="Slide Number Placeholder 5"/>
          <p:cNvSpPr txBox="1">
            <a:spLocks/>
          </p:cNvSpPr>
          <p:nvPr/>
        </p:nvSpPr>
        <p:spPr>
          <a:xfrm>
            <a:off x="8223300" y="64465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08A646B-FACF-4B82-BDFC-72A0DF7DA70D}" type="slidenum">
              <a:rPr lang="en-US" sz="900" b="1" smtClean="0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sz="900" b="1" dirty="0">
              <a:solidFill>
                <a:srgbClr val="616365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7200" y="350812"/>
            <a:ext cx="8218488" cy="6318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68313" y="1092168"/>
            <a:ext cx="8207375" cy="158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7404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1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6" r:id="rId17"/>
    <p:sldLayoutId id="2147483748" r:id="rId18"/>
    <p:sldLayoutId id="2147483749" r:id="rId19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7013" indent="-2270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383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228600" algn="l" defTabSz="211296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80000"/>
        <a:buFont typeface="Courier New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12" Type="http://schemas.microsoft.com/office/2007/relationships/diagramDrawing" Target="../diagrams/drawing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2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3.xml"/><Relationship Id="rId9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oleObject" Target="../embeddings/oleObject9.bin"/><Relationship Id="rId18" Type="http://schemas.openxmlformats.org/officeDocument/2006/relationships/image" Target="../media/image13.emf"/><Relationship Id="rId26" Type="http://schemas.openxmlformats.org/officeDocument/2006/relationships/oleObject" Target="../embeddings/oleObject15.bin"/><Relationship Id="rId3" Type="http://schemas.openxmlformats.org/officeDocument/2006/relationships/oleObject" Target="../embeddings/oleObject4.bin"/><Relationship Id="rId21" Type="http://schemas.openxmlformats.org/officeDocument/2006/relationships/oleObject" Target="../embeddings/oleObject13.bin"/><Relationship Id="rId7" Type="http://schemas.openxmlformats.org/officeDocument/2006/relationships/oleObject" Target="../embeddings/oleObject6.bin"/><Relationship Id="rId12" Type="http://schemas.openxmlformats.org/officeDocument/2006/relationships/image" Target="../media/image10.emf"/><Relationship Id="rId17" Type="http://schemas.openxmlformats.org/officeDocument/2006/relationships/oleObject" Target="../embeddings/oleObject11.bin"/><Relationship Id="rId25" Type="http://schemas.openxmlformats.org/officeDocument/2006/relationships/image" Target="../media/image17.jpe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2.emf"/><Relationship Id="rId20" Type="http://schemas.openxmlformats.org/officeDocument/2006/relationships/image" Target="../media/image14.emf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11" Type="http://schemas.openxmlformats.org/officeDocument/2006/relationships/oleObject" Target="../embeddings/oleObject8.bin"/><Relationship Id="rId24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15" Type="http://schemas.openxmlformats.org/officeDocument/2006/relationships/oleObject" Target="../embeddings/oleObject10.bin"/><Relationship Id="rId23" Type="http://schemas.openxmlformats.org/officeDocument/2006/relationships/oleObject" Target="../embeddings/oleObject14.bin"/><Relationship Id="rId10" Type="http://schemas.openxmlformats.org/officeDocument/2006/relationships/image" Target="../media/image9.emf"/><Relationship Id="rId19" Type="http://schemas.openxmlformats.org/officeDocument/2006/relationships/oleObject" Target="../embeddings/oleObject12.bin"/><Relationship Id="rId4" Type="http://schemas.openxmlformats.org/officeDocument/2006/relationships/image" Target="../media/image6.emf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.emf"/><Relationship Id="rId22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oleObject" Target="../embeddings/oleObject21.bin"/><Relationship Id="rId18" Type="http://schemas.openxmlformats.org/officeDocument/2006/relationships/image" Target="../media/image25.emf"/><Relationship Id="rId26" Type="http://schemas.openxmlformats.org/officeDocument/2006/relationships/image" Target="../media/image29.emf"/><Relationship Id="rId3" Type="http://schemas.openxmlformats.org/officeDocument/2006/relationships/oleObject" Target="../embeddings/oleObject16.bin"/><Relationship Id="rId21" Type="http://schemas.openxmlformats.org/officeDocument/2006/relationships/oleObject" Target="../embeddings/oleObject25.bin"/><Relationship Id="rId7" Type="http://schemas.openxmlformats.org/officeDocument/2006/relationships/oleObject" Target="../embeddings/oleObject18.bin"/><Relationship Id="rId12" Type="http://schemas.openxmlformats.org/officeDocument/2006/relationships/image" Target="../media/image22.emf"/><Relationship Id="rId17" Type="http://schemas.openxmlformats.org/officeDocument/2006/relationships/oleObject" Target="../embeddings/oleObject23.bin"/><Relationship Id="rId25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4.emf"/><Relationship Id="rId20" Type="http://schemas.openxmlformats.org/officeDocument/2006/relationships/image" Target="../media/image26.emf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11" Type="http://schemas.openxmlformats.org/officeDocument/2006/relationships/oleObject" Target="../embeddings/oleObject20.bin"/><Relationship Id="rId24" Type="http://schemas.openxmlformats.org/officeDocument/2006/relationships/image" Target="../media/image28.emf"/><Relationship Id="rId5" Type="http://schemas.openxmlformats.org/officeDocument/2006/relationships/oleObject" Target="../embeddings/oleObject17.bin"/><Relationship Id="rId15" Type="http://schemas.openxmlformats.org/officeDocument/2006/relationships/oleObject" Target="../embeddings/oleObject22.bin"/><Relationship Id="rId23" Type="http://schemas.openxmlformats.org/officeDocument/2006/relationships/oleObject" Target="../embeddings/oleObject26.bin"/><Relationship Id="rId10" Type="http://schemas.openxmlformats.org/officeDocument/2006/relationships/image" Target="../media/image21.emf"/><Relationship Id="rId19" Type="http://schemas.openxmlformats.org/officeDocument/2006/relationships/oleObject" Target="../embeddings/oleObject24.bin"/><Relationship Id="rId4" Type="http://schemas.openxmlformats.org/officeDocument/2006/relationships/image" Target="../media/image18.emf"/><Relationship Id="rId9" Type="http://schemas.openxmlformats.org/officeDocument/2006/relationships/oleObject" Target="../embeddings/oleObject19.bin"/><Relationship Id="rId14" Type="http://schemas.openxmlformats.org/officeDocument/2006/relationships/image" Target="../media/image23.emf"/><Relationship Id="rId22" Type="http://schemas.openxmlformats.org/officeDocument/2006/relationships/image" Target="../media/image27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ndrogram Overview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33162559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tep 4 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se the distances to then cluster items based on smallest to largest distanc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23248" y="2696568"/>
            <a:ext cx="914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Peps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20404" y="2239368"/>
            <a:ext cx="914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Cok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50544" y="3382368"/>
            <a:ext cx="914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pri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81000" y="3831608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Mt. Dew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81000" y="4202668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7 up</a:t>
            </a:r>
          </a:p>
        </p:txBody>
      </p:sp>
      <p:cxnSp>
        <p:nvCxnSpPr>
          <p:cNvPr id="11" name="Elbow Connector 10"/>
          <p:cNvCxnSpPr/>
          <p:nvPr/>
        </p:nvCxnSpPr>
        <p:spPr>
          <a:xfrm>
            <a:off x="1663700" y="4016274"/>
            <a:ext cx="12700" cy="371060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/>
          <p:nvPr/>
        </p:nvCxnSpPr>
        <p:spPr>
          <a:xfrm>
            <a:off x="1676400" y="2477908"/>
            <a:ext cx="12700" cy="371060"/>
          </a:xfrm>
          <a:prstGeom prst="bentConnector3">
            <a:avLst>
              <a:gd name="adj1" fmla="val 362686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/>
          <p:nvPr/>
        </p:nvCxnSpPr>
        <p:spPr>
          <a:xfrm>
            <a:off x="1663700" y="3572868"/>
            <a:ext cx="1003300" cy="44340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/>
          <p:nvPr/>
        </p:nvCxnSpPr>
        <p:spPr>
          <a:xfrm flipV="1">
            <a:off x="1905000" y="4026087"/>
            <a:ext cx="508379" cy="17658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/>
          <p:nvPr/>
        </p:nvCxnSpPr>
        <p:spPr>
          <a:xfrm>
            <a:off x="2159189" y="2663438"/>
            <a:ext cx="1117411" cy="71893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/>
          <p:nvPr/>
        </p:nvCxnSpPr>
        <p:spPr>
          <a:xfrm flipV="1">
            <a:off x="2165350" y="3398290"/>
            <a:ext cx="1094190" cy="627797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962400" y="1828800"/>
            <a:ext cx="48768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7 up and Mt. Dew is combined first as this has the smallest dist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ke and Pepsi are combined together as they have the smallest dist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milarly Sprite is combined with Mr. Dew and 7 up as this has the smallest distance with this group vs. the Coke – Pepsi gro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process is called as “Agglomerative hierarchical clustering”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986284" y="1318736"/>
            <a:ext cx="2626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lustering proces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85800" y="1295400"/>
            <a:ext cx="2626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endrogram</a:t>
            </a:r>
          </a:p>
        </p:txBody>
      </p:sp>
    </p:spTree>
    <p:extLst>
      <p:ext uri="{BB962C8B-B14F-4D97-AF65-F5344CB8AC3E}">
        <p14:creationId xmlns:p14="http://schemas.microsoft.com/office/powerpoint/2010/main" val="3067243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-by-Step Example</a:t>
            </a:r>
            <a:br>
              <a:rPr lang="en-US" dirty="0"/>
            </a:br>
            <a:r>
              <a:rPr lang="en-US" dirty="0"/>
              <a:t>Dendrogram (Item Analysis): Candles OpStud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62468" y="1700808"/>
            <a:ext cx="13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ndl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9637" y="1700808"/>
            <a:ext cx="5953262" cy="396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88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878" y="1963340"/>
            <a:ext cx="8602980" cy="422752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9154" y="466691"/>
            <a:ext cx="8503920" cy="473864"/>
          </a:xfrm>
        </p:spPr>
        <p:txBody>
          <a:bodyPr/>
          <a:lstStyle/>
          <a:p>
            <a:r>
              <a:rPr lang="en-US" sz="2000" dirty="0">
                <a:solidFill>
                  <a:schemeClr val="accent1"/>
                </a:solidFill>
              </a:rPr>
              <a:t>Use Case of a high-level decision tree:  Candles</a:t>
            </a:r>
            <a:br>
              <a:rPr lang="en-US" sz="2000" dirty="0">
                <a:solidFill>
                  <a:schemeClr val="accent1"/>
                </a:solidFill>
              </a:rPr>
            </a:br>
            <a:r>
              <a:rPr lang="en-US" sz="1600" i="1" dirty="0">
                <a:solidFill>
                  <a:schemeClr val="accent1"/>
                </a:solidFill>
              </a:rPr>
              <a:t>Evaluating and Exporting the product groupings…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09154" y="1046554"/>
            <a:ext cx="84174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600" dirty="0"/>
              <a:t>Review and name significant product groupings (those items swapped by customers); in most cases ~20 groups will meet the need</a:t>
            </a:r>
          </a:p>
          <a:p>
            <a:pPr marL="342900" indent="-342900">
              <a:buFontTx/>
              <a:buAutoNum type="arabicPeriod"/>
            </a:pPr>
            <a:r>
              <a:rPr lang="en-US" sz="1600" dirty="0"/>
              <a:t>Export* the chart view of the named groupings into Excel for a one-page visualiza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7987747" y="2268612"/>
            <a:ext cx="330762" cy="3578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762790" y="2069488"/>
            <a:ext cx="404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2.</a:t>
            </a:r>
            <a:r>
              <a:rPr lang="en-US" sz="1200" dirty="0"/>
              <a:t> 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0287" y="5822227"/>
            <a:ext cx="8340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</a:t>
            </a:r>
            <a:r>
              <a:rPr lang="en-US" sz="800" dirty="0"/>
              <a:t>Export Troubleshooting:  If the export does not download, you may need to update your Chrome settings so that the </a:t>
            </a:r>
            <a:r>
              <a:rPr lang="en-US" sz="800" dirty="0" err="1"/>
              <a:t>Dendrogram</a:t>
            </a:r>
            <a:r>
              <a:rPr lang="en-US" sz="800" dirty="0"/>
              <a:t>  URL is added to “Allow” under Pop-Up Blocker.   Technical assistance is available at </a:t>
            </a:r>
            <a:r>
              <a:rPr lang="en-US" sz="800" dirty="0">
                <a:solidFill>
                  <a:srgbClr val="009FDA"/>
                </a:solidFill>
              </a:rPr>
              <a:t>Technical.Support@IRIWorldwide.com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46530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9773" y="4495775"/>
            <a:ext cx="3626127" cy="161182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02" y="1810393"/>
            <a:ext cx="4849086" cy="23992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532" y="334156"/>
            <a:ext cx="8259011" cy="631818"/>
          </a:xfrm>
        </p:spPr>
        <p:txBody>
          <a:bodyPr/>
          <a:lstStyle/>
          <a:p>
            <a:r>
              <a:rPr lang="en-US" dirty="0"/>
              <a:t>Use Case of a high-level decision tree:  Candles</a:t>
            </a:r>
            <a:br>
              <a:rPr lang="en-US" dirty="0"/>
            </a:br>
            <a:r>
              <a:rPr lang="en-US" sz="1600" i="1" dirty="0"/>
              <a:t>Chart view and Grid view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479773" y="1804936"/>
            <a:ext cx="32273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a. Grid:  the top displays total group metrics 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290060" y="1980647"/>
            <a:ext cx="237786" cy="20251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4527846" y="2203880"/>
            <a:ext cx="951927" cy="72747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4419600" y="2183165"/>
            <a:ext cx="1029269" cy="26321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02702" y="1469616"/>
            <a:ext cx="5804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US" sz="1200" dirty="0"/>
              <a:t>Default view is Chart; click on “Grid” for details with sales metrics 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425218" y="3828729"/>
            <a:ext cx="37187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b. Grid:  the bottom displays metrics of each UPC in the group; based on which group the cursor is place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72829" y="5337638"/>
            <a:ext cx="35451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2.  Click on “Chart” to navigate back to Dendrogram chart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633460" y="4625340"/>
            <a:ext cx="193040" cy="16649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4" name="Straight Arrow Connector 23"/>
          <p:cNvCxnSpPr>
            <a:stCxn id="23" idx="1"/>
          </p:cNvCxnSpPr>
          <p:nvPr/>
        </p:nvCxnSpPr>
        <p:spPr>
          <a:xfrm flipH="1">
            <a:off x="3552713" y="4708586"/>
            <a:ext cx="5080747" cy="7348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9197" y="2267324"/>
            <a:ext cx="3490824" cy="157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80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999" y="1823935"/>
            <a:ext cx="8932333" cy="3037287"/>
          </a:xfrm>
          <a:prstGeom prst="rect">
            <a:avLst/>
          </a:prstGeom>
        </p:spPr>
      </p:pic>
      <p:sp>
        <p:nvSpPr>
          <p:cNvPr id="8" name="Title 2"/>
          <p:cNvSpPr txBox="1">
            <a:spLocks/>
          </p:cNvSpPr>
          <p:nvPr/>
        </p:nvSpPr>
        <p:spPr bwMode="gray">
          <a:xfrm>
            <a:off x="76202" y="426709"/>
            <a:ext cx="850392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85783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Use Case of a high-level decision tree:  Candles</a:t>
            </a:r>
          </a:p>
          <a:p>
            <a:r>
              <a:rPr lang="en-US" sz="1600" i="1" dirty="0">
                <a:solidFill>
                  <a:schemeClr val="accent1"/>
                </a:solidFill>
              </a:rPr>
              <a:t>Reviewing the chart product groupings…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9154" y="1046554"/>
            <a:ext cx="78508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600" dirty="0"/>
              <a:t>Evaluate the significant product groupings to understand customer need states,  functional groups and Merchandising insights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56636" y="2074333"/>
            <a:ext cx="702694" cy="2786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645920" y="3741853"/>
            <a:ext cx="1881051" cy="3206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5234941" y="5108713"/>
            <a:ext cx="3819608" cy="10887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u="sng" dirty="0"/>
              <a:t>Insight</a:t>
            </a:r>
            <a:r>
              <a:rPr lang="en-US" sz="1000" dirty="0"/>
              <a:t>:  The Candle Jar 15oz item group remains the same all the way down the tree indicating strong switching within the group; yet strong differentiation vs. other groups on the shelf.</a:t>
            </a:r>
          </a:p>
          <a:p>
            <a:endParaRPr lang="en-US" sz="1000" dirty="0"/>
          </a:p>
          <a:p>
            <a:r>
              <a:rPr lang="en-US" sz="1000" b="1" u="sng" dirty="0"/>
              <a:t>Recommendation</a:t>
            </a:r>
            <a:r>
              <a:rPr lang="en-US" sz="1000" dirty="0"/>
              <a:t>:  Merchandise these items all in one place on the shelf for ease of shopping this important need stat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10198" y="5253990"/>
            <a:ext cx="3845607" cy="10887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u="sng" dirty="0"/>
              <a:t>Insight</a:t>
            </a:r>
            <a:r>
              <a:rPr lang="en-US" sz="1000" dirty="0"/>
              <a:t>:  Tea lights, Pillars and Religious candles break out together, indicating they are purchased by the same customer over time</a:t>
            </a:r>
          </a:p>
          <a:p>
            <a:r>
              <a:rPr lang="en-US" sz="1000" b="1" u="sng" dirty="0"/>
              <a:t>Recommendation</a:t>
            </a:r>
            <a:r>
              <a:rPr lang="en-US" sz="1000" dirty="0"/>
              <a:t>:  Merchandise these in a block to help build the basket by increasing purchases of different kinds of candle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2153540" y="4062549"/>
            <a:ext cx="432905" cy="117156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7964250" y="4861222"/>
            <a:ext cx="700860" cy="20144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636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468" y="2064515"/>
            <a:ext cx="8619067" cy="378949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accent1"/>
                </a:solidFill>
              </a:rPr>
              <a:t>Macro Customer Decision Tree in Unify = Item Analysis Reports</a:t>
            </a:r>
            <a:br>
              <a:rPr lang="en-US" sz="2000" dirty="0">
                <a:solidFill>
                  <a:schemeClr val="accent1"/>
                </a:solidFill>
              </a:rPr>
            </a:br>
            <a:r>
              <a:rPr lang="en-US" sz="1600" i="1" dirty="0">
                <a:solidFill>
                  <a:schemeClr val="accent1"/>
                </a:solidFill>
              </a:rPr>
              <a:t>Use Case high-level decision tree:  Candl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1797" y="1141909"/>
            <a:ext cx="81860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400" dirty="0"/>
              <a:t>Export the grid view in order to evaluate the named groupings for dollar contribution to the shelf, year over year performance and meeting customer needs.</a:t>
            </a:r>
          </a:p>
          <a:p>
            <a:pPr marL="342900" indent="-342900">
              <a:buAutoNum type="arabicPeriod"/>
            </a:pPr>
            <a:r>
              <a:rPr lang="en-US" sz="1400" dirty="0"/>
              <a:t>Use UPC output to run analysis (e.g., Loyalty, Switching, Exclusivity, Purchase Cycle) on item groups not reported at a standard hierarchy level</a:t>
            </a:r>
            <a:endParaRPr lang="en-US" sz="1600" dirty="0"/>
          </a:p>
        </p:txBody>
      </p:sp>
      <p:sp>
        <p:nvSpPr>
          <p:cNvPr id="7" name="Rounded Rectangle 6"/>
          <p:cNvSpPr/>
          <p:nvPr/>
        </p:nvSpPr>
        <p:spPr>
          <a:xfrm>
            <a:off x="567005" y="5630833"/>
            <a:ext cx="7897966" cy="5804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Insight:  Tea Lights and Wax Melts are at the same level of the item analysis, yet Tea Lights generate nearly twice as much dollars with almost the same amount of UPCs.</a:t>
            </a:r>
          </a:p>
          <a:p>
            <a:endParaRPr lang="en-US" sz="1000" dirty="0"/>
          </a:p>
          <a:p>
            <a:r>
              <a:rPr lang="en-US" sz="1000" dirty="0"/>
              <a:t>Recommendation:  Understand item velocity and/or incrementality when deciding on one more facing of Tea Lights vs. Wax Melts.</a:t>
            </a:r>
          </a:p>
        </p:txBody>
      </p:sp>
      <p:sp>
        <p:nvSpPr>
          <p:cNvPr id="6" name="Rectangle 5"/>
          <p:cNvSpPr/>
          <p:nvPr/>
        </p:nvSpPr>
        <p:spPr>
          <a:xfrm>
            <a:off x="226908" y="4233332"/>
            <a:ext cx="8280400" cy="21166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43840" y="4605867"/>
            <a:ext cx="8280400" cy="21166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51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Dendrogram?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3680" y="1304045"/>
            <a:ext cx="8824823" cy="129250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400" dirty="0"/>
              <a:t>A Dendrogram is a diagram that shows the hierarchical relationship between products.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The lower the link between groups of items, the more closely they are related/substitutable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Purpose: Insights to Action</a:t>
            </a:r>
            <a:endParaRPr lang="en-US" sz="1400" dirty="0"/>
          </a:p>
          <a:p>
            <a:pPr lvl="1">
              <a:lnSpc>
                <a:spcPct val="150000"/>
              </a:lnSpc>
            </a:pPr>
            <a:r>
              <a:rPr lang="en-US" sz="1400" dirty="0"/>
              <a:t>High level breaks in the Dendrogram can be used to inform Macro level Merchandising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ow level product groupings can be used to validate/inform switching groups</a:t>
            </a:r>
          </a:p>
          <a:p>
            <a:endParaRPr lang="en-US" sz="1600" dirty="0"/>
          </a:p>
          <a:p>
            <a:endParaRPr lang="en-US" sz="1600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9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07" t="9989" r="10871" b="15571"/>
          <a:stretch/>
        </p:blipFill>
        <p:spPr bwMode="auto">
          <a:xfrm>
            <a:off x="986914" y="3745021"/>
            <a:ext cx="5482127" cy="2489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Brace 8"/>
          <p:cNvSpPr/>
          <p:nvPr/>
        </p:nvSpPr>
        <p:spPr>
          <a:xfrm>
            <a:off x="6437326" y="4833237"/>
            <a:ext cx="384561" cy="66657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ight Brace 9"/>
          <p:cNvSpPr/>
          <p:nvPr/>
        </p:nvSpPr>
        <p:spPr>
          <a:xfrm>
            <a:off x="6443023" y="5499809"/>
            <a:ext cx="384561" cy="66657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957194" y="5035718"/>
            <a:ext cx="9925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Similar item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957194" y="5702290"/>
            <a:ext cx="9925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Similar items</a:t>
            </a:r>
          </a:p>
        </p:txBody>
      </p:sp>
      <p:sp>
        <p:nvSpPr>
          <p:cNvPr id="13" name="Right Brace 12"/>
          <p:cNvSpPr/>
          <p:nvPr/>
        </p:nvSpPr>
        <p:spPr>
          <a:xfrm>
            <a:off x="6437325" y="4688213"/>
            <a:ext cx="384561" cy="1149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ight Brace 13"/>
          <p:cNvSpPr/>
          <p:nvPr/>
        </p:nvSpPr>
        <p:spPr>
          <a:xfrm>
            <a:off x="6437324" y="4543189"/>
            <a:ext cx="384561" cy="1149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ight Brace 14"/>
          <p:cNvSpPr/>
          <p:nvPr/>
        </p:nvSpPr>
        <p:spPr>
          <a:xfrm>
            <a:off x="6437323" y="4413188"/>
            <a:ext cx="384561" cy="1149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957193" y="4621174"/>
            <a:ext cx="9925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Similar item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57190" y="4470173"/>
            <a:ext cx="9925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Similar item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957190" y="4325877"/>
            <a:ext cx="9925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Similar items</a:t>
            </a:r>
          </a:p>
        </p:txBody>
      </p:sp>
    </p:spTree>
    <p:extLst>
      <p:ext uri="{BB962C8B-B14F-4D97-AF65-F5344CB8AC3E}">
        <p14:creationId xmlns:p14="http://schemas.microsoft.com/office/powerpoint/2010/main" val="2391305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ndrogram Methodolog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1164544"/>
            <a:ext cx="8344627" cy="205722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400" dirty="0"/>
              <a:t>All Walgreens Balance Reward Cards data included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Last 52 weeks purchase behavior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Items purchased in the same basket are excluded from the analysis, which narrows the focus of the output to identify true substitutability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Competitive market customer behavior is not included in analysis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1754024" y="3326842"/>
          <a:ext cx="5369590" cy="29790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20589" y="3326842"/>
            <a:ext cx="27478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/>
              <a:t>Within logical switching, </a:t>
            </a:r>
          </a:p>
          <a:p>
            <a:r>
              <a:rPr lang="en-US" sz="1600" i="1" dirty="0"/>
              <a:t>substitutable items: </a:t>
            </a:r>
          </a:p>
        </p:txBody>
      </p:sp>
    </p:spTree>
    <p:extLst>
      <p:ext uri="{BB962C8B-B14F-4D97-AF65-F5344CB8AC3E}">
        <p14:creationId xmlns:p14="http://schemas.microsoft.com/office/powerpoint/2010/main" val="225526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73" y="142993"/>
            <a:ext cx="8218488" cy="631818"/>
          </a:xfrm>
        </p:spPr>
        <p:txBody>
          <a:bodyPr/>
          <a:lstStyle/>
          <a:p>
            <a:r>
              <a:rPr lang="en-US" dirty="0"/>
              <a:t>Dendrogram Timing &amp; Best Practice Approach/Applic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6445" y="1205075"/>
            <a:ext cx="8250355" cy="4764404"/>
          </a:xfrm>
        </p:spPr>
        <p:txBody>
          <a:bodyPr/>
          <a:lstStyle/>
          <a:p>
            <a:pPr marL="0" indent="0">
              <a:buNone/>
            </a:pPr>
            <a:r>
              <a:rPr lang="en-US" sz="1400" b="1" u="sng" dirty="0"/>
              <a:t>Timing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Macro Customer Decision Trees updated once a year based on reset schedules, typically available 30 weeks pre-reset (Schedule to be posted on Welcome Page in Unify)</a:t>
            </a:r>
            <a:endParaRPr lang="en-US" sz="1400" b="1" u="sng" dirty="0"/>
          </a:p>
          <a:p>
            <a:pPr marL="0" indent="0">
              <a:lnSpc>
                <a:spcPct val="150000"/>
              </a:lnSpc>
              <a:buNone/>
            </a:pPr>
            <a:r>
              <a:rPr lang="en-US" sz="1400" b="1" u="sng" dirty="0"/>
              <a:t>Best Practices</a:t>
            </a: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Analyze from a </a:t>
            </a:r>
            <a:r>
              <a:rPr lang="en-US" sz="1400" b="1" dirty="0"/>
              <a:t>top-down approach </a:t>
            </a:r>
            <a:r>
              <a:rPr lang="en-US" sz="1400" dirty="0"/>
              <a:t>to yield ~20 product groupings for optimal results</a:t>
            </a:r>
          </a:p>
          <a:p>
            <a:pPr marL="288925" indent="-285750">
              <a:lnSpc>
                <a:spcPct val="150000"/>
              </a:lnSpc>
            </a:pPr>
            <a:r>
              <a:rPr lang="en-US" sz="1400" dirty="0"/>
              <a:t>All items with sales are included in Dendrogram.  Low volume items should be omitted from consideration when naming the product levels as they can fall in illogical locations</a:t>
            </a:r>
          </a:p>
          <a:p>
            <a:pPr marL="288925" indent="-285750">
              <a:lnSpc>
                <a:spcPct val="150000"/>
              </a:lnSpc>
            </a:pPr>
            <a:r>
              <a:rPr lang="en-US" sz="1400" dirty="0"/>
              <a:t>Use the </a:t>
            </a:r>
            <a:r>
              <a:rPr lang="en-US" sz="1400" b="1" dirty="0"/>
              <a:t>80/20 rule </a:t>
            </a:r>
            <a:r>
              <a:rPr lang="en-US" sz="1400" dirty="0"/>
              <a:t>when naming item groups </a:t>
            </a:r>
          </a:p>
          <a:p>
            <a:pPr marL="288925" indent="-285750">
              <a:lnSpc>
                <a:spcPct val="150000"/>
              </a:lnSpc>
            </a:pPr>
            <a:r>
              <a:rPr lang="en-US" sz="1400" dirty="0"/>
              <a:t>Dendrograms can be created above opstudy level, however, it is not recommended due to the overlap of complementary items</a:t>
            </a:r>
          </a:p>
          <a:p>
            <a:pPr marL="636587" lvl="1" indent="-285750">
              <a:lnSpc>
                <a:spcPct val="150000"/>
              </a:lnSpc>
            </a:pPr>
            <a:r>
              <a:rPr lang="en-US" sz="1400" dirty="0"/>
              <a:t>Similarly, it is not recommended to include disparate product groups that do not logically have switching or interactions (e.g., Car Air Freshener and Anti Freeze)</a:t>
            </a:r>
          </a:p>
          <a:p>
            <a:pPr marL="636587" lvl="1" indent="-285750">
              <a:lnSpc>
                <a:spcPct val="150000"/>
              </a:lnSpc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42590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381000"/>
            <a:ext cx="8218488" cy="631818"/>
          </a:xfrm>
        </p:spPr>
        <p:txBody>
          <a:bodyPr/>
          <a:lstStyle/>
          <a:p>
            <a:r>
              <a:rPr lang="en-US" dirty="0"/>
              <a:t>The Item analysis (Dendrogram) is based on panelist buying behavior to determine items that should cluster togeth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52400" y="1283368"/>
            <a:ext cx="8567393" cy="4882482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tep 1 :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For Every Household, actual UPC level buying behavior across time period is considered to identify UPCs that are substitutes based on affiliations (high affiliations which are over 100).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tep 2 :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Affiliations between two items is the measure of the switching between these two items relative to their share. Higher the switching, higher is the affiliation index thus indicating substitutability.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tep 3 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e use this affiliation Index by treating it as a distance measure for clustering. Two items / UPCs that highest affiliation will have the smallest distance between them and will cluster together.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tep 4 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Algorithm then starts combining other UPCs based on distance and generate the node structure based on aggregating all the lower level groups/clusters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few slides that explains based on which measure is th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edndrogra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built on. Th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endrogra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s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mployo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lustering that is clear no need anything but is not clear on What values/metrics is  the clustering working off.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459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405"/>
          <p:cNvGrpSpPr>
            <a:grpSpLocks/>
          </p:cNvGrpSpPr>
          <p:nvPr/>
        </p:nvGrpSpPr>
        <p:grpSpPr bwMode="auto">
          <a:xfrm>
            <a:off x="3270250" y="3200400"/>
            <a:ext cx="5321300" cy="2814638"/>
            <a:chOff x="2064" y="1539"/>
            <a:chExt cx="3352" cy="1773"/>
          </a:xfrm>
        </p:grpSpPr>
        <p:graphicFrame>
          <p:nvGraphicFramePr>
            <p:cNvPr id="5" name="Object 4"/>
            <p:cNvGraphicFramePr>
              <a:graphicFrameLocks/>
            </p:cNvGraphicFramePr>
            <p:nvPr/>
          </p:nvGraphicFramePr>
          <p:xfrm>
            <a:off x="2078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54" name="Clip" r:id="rId3" imgW="1898640" imgH="3657600" progId="MS_ClipArt_Gallery.2">
                    <p:embed/>
                  </p:oleObj>
                </mc:Choice>
                <mc:Fallback>
                  <p:oleObj name="Clip" r:id="rId3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078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2064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7" name="Object 7"/>
            <p:cNvGraphicFramePr>
              <a:graphicFrameLocks/>
            </p:cNvGraphicFramePr>
            <p:nvPr/>
          </p:nvGraphicFramePr>
          <p:xfrm>
            <a:off x="2340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55" name="Clip" r:id="rId5" imgW="1898640" imgH="3657600" progId="MS_ClipArt_Gallery.2">
                    <p:embed/>
                  </p:oleObj>
                </mc:Choice>
                <mc:Fallback>
                  <p:oleObj name="Clip" r:id="rId5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340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Rectangle 8"/>
            <p:cNvSpPr>
              <a:spLocks noChangeArrowheads="1"/>
            </p:cNvSpPr>
            <p:nvPr/>
          </p:nvSpPr>
          <p:spPr bwMode="gray">
            <a:xfrm>
              <a:off x="2326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9" name="Object 10"/>
            <p:cNvGraphicFramePr>
              <a:graphicFrameLocks/>
            </p:cNvGraphicFramePr>
            <p:nvPr/>
          </p:nvGraphicFramePr>
          <p:xfrm>
            <a:off x="3380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56" name="Clip" r:id="rId7" imgW="1898640" imgH="3657600" progId="MS_ClipArt_Gallery.2">
                    <p:embed/>
                  </p:oleObj>
                </mc:Choice>
                <mc:Fallback>
                  <p:oleObj name="Clip" r:id="rId7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380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" name="Rectangle 11"/>
            <p:cNvSpPr>
              <a:spLocks noChangeArrowheads="1"/>
            </p:cNvSpPr>
            <p:nvPr/>
          </p:nvSpPr>
          <p:spPr bwMode="gray">
            <a:xfrm>
              <a:off x="3366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11" name="Object 13"/>
            <p:cNvGraphicFramePr>
              <a:graphicFrameLocks/>
            </p:cNvGraphicFramePr>
            <p:nvPr/>
          </p:nvGraphicFramePr>
          <p:xfrm>
            <a:off x="2598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57" name="Clip" r:id="rId9" imgW="1898640" imgH="3657600" progId="MS_ClipArt_Gallery.2">
                    <p:embed/>
                  </p:oleObj>
                </mc:Choice>
                <mc:Fallback>
                  <p:oleObj name="Clip" r:id="rId9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598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2" name="Rectangle 14"/>
            <p:cNvSpPr>
              <a:spLocks noChangeArrowheads="1"/>
            </p:cNvSpPr>
            <p:nvPr/>
          </p:nvSpPr>
          <p:spPr bwMode="gray">
            <a:xfrm>
              <a:off x="2584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13" name="Object 16"/>
            <p:cNvGraphicFramePr>
              <a:graphicFrameLocks/>
            </p:cNvGraphicFramePr>
            <p:nvPr/>
          </p:nvGraphicFramePr>
          <p:xfrm>
            <a:off x="3872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58" name="Clip" r:id="rId11" imgW="1898640" imgH="3657600" progId="MS_ClipArt_Gallery.2">
                    <p:embed/>
                  </p:oleObj>
                </mc:Choice>
                <mc:Fallback>
                  <p:oleObj name="Clip" r:id="rId11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872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4" name="Rectangle 17"/>
            <p:cNvSpPr>
              <a:spLocks noChangeArrowheads="1"/>
            </p:cNvSpPr>
            <p:nvPr/>
          </p:nvSpPr>
          <p:spPr bwMode="gray">
            <a:xfrm>
              <a:off x="3858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15" name="Object 19"/>
            <p:cNvGraphicFramePr>
              <a:graphicFrameLocks/>
            </p:cNvGraphicFramePr>
            <p:nvPr/>
          </p:nvGraphicFramePr>
          <p:xfrm>
            <a:off x="5215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59" name="Clip" r:id="rId13" imgW="1898640" imgH="3657600" progId="MS_ClipArt_Gallery.2">
                    <p:embed/>
                  </p:oleObj>
                </mc:Choice>
                <mc:Fallback>
                  <p:oleObj name="Clip" r:id="rId13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5215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6" name="Rectangle 20"/>
            <p:cNvSpPr>
              <a:spLocks noChangeArrowheads="1"/>
            </p:cNvSpPr>
            <p:nvPr/>
          </p:nvSpPr>
          <p:spPr bwMode="gray">
            <a:xfrm>
              <a:off x="5201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pSp>
          <p:nvGrpSpPr>
            <p:cNvPr id="17" name="Group 22"/>
            <p:cNvGrpSpPr>
              <a:grpSpLocks/>
            </p:cNvGrpSpPr>
            <p:nvPr/>
          </p:nvGrpSpPr>
          <p:grpSpPr bwMode="auto">
            <a:xfrm>
              <a:off x="3126" y="2968"/>
              <a:ext cx="200" cy="339"/>
              <a:chOff x="2974" y="3217"/>
              <a:chExt cx="162" cy="291"/>
            </a:xfrm>
          </p:grpSpPr>
          <p:grpSp>
            <p:nvGrpSpPr>
              <p:cNvPr id="1295" name="Group 23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327" name="Group 24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329" name="Oval 25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330" name="Oval 26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328" name="Freeform 27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296" name="Oval 28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297" name="Rectangle 29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98" name="Group 30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325" name="Oval 31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326" name="Oval 32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99" name="Oval 33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300" name="Group 34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323" name="Oval 35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324" name="Rectangle 36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301" name="Group 37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319" name="Group 38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321" name="Oval 39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322" name="Oval 4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320" name="Oval 41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302" name="Freeform 42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303" name="Group 43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304" name="Group 44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306" name="Group 45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317" name="Oval 4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8" name="Oval 4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307" name="Freeform 48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08" name="Freeform 49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309" name="Group 50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314" name="Oval 5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5" name="Oval 5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6" name="Oval 5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310" name="Group 54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311" name="Oval 5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2" name="Oval 5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3" name="Oval 5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305" name="Oval 58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8" name="Rectangle 59"/>
            <p:cNvSpPr>
              <a:spLocks noChangeArrowheads="1"/>
            </p:cNvSpPr>
            <p:nvPr/>
          </p:nvSpPr>
          <p:spPr bwMode="gray">
            <a:xfrm>
              <a:off x="3120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aphicFrame>
          <p:nvGraphicFramePr>
            <p:cNvPr id="19" name="Object 61"/>
            <p:cNvGraphicFramePr>
              <a:graphicFrameLocks/>
            </p:cNvGraphicFramePr>
            <p:nvPr/>
          </p:nvGraphicFramePr>
          <p:xfrm>
            <a:off x="4142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60" name="Clip" r:id="rId15" imgW="1898640" imgH="3657600" progId="MS_ClipArt_Gallery.2">
                    <p:embed/>
                  </p:oleObj>
                </mc:Choice>
                <mc:Fallback>
                  <p:oleObj name="Clip" r:id="rId15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142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0" name="Rectangle 62"/>
            <p:cNvSpPr>
              <a:spLocks noChangeArrowheads="1"/>
            </p:cNvSpPr>
            <p:nvPr/>
          </p:nvSpPr>
          <p:spPr bwMode="gray">
            <a:xfrm>
              <a:off x="4128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pSp>
          <p:nvGrpSpPr>
            <p:cNvPr id="21" name="Group 64"/>
            <p:cNvGrpSpPr>
              <a:grpSpLocks/>
            </p:cNvGrpSpPr>
            <p:nvPr/>
          </p:nvGrpSpPr>
          <p:grpSpPr bwMode="auto">
            <a:xfrm>
              <a:off x="4396" y="2968"/>
              <a:ext cx="200" cy="339"/>
              <a:chOff x="2974" y="3217"/>
              <a:chExt cx="162" cy="291"/>
            </a:xfrm>
          </p:grpSpPr>
          <p:grpSp>
            <p:nvGrpSpPr>
              <p:cNvPr id="1259" name="Group 65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291" name="Group 66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293" name="Oval 67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94" name="Oval 68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92" name="Freeform 69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260" name="Oval 70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261" name="Rectangle 71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62" name="Group 72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289" name="Oval 73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90" name="Oval 74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63" name="Oval 75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64" name="Group 76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287" name="Oval 77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88" name="Rectangle 78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265" name="Group 79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283" name="Group 80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285" name="Oval 81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86" name="Oval 82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84" name="Oval 83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66" name="Freeform 84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267" name="Group 85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268" name="Group 86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270" name="Group 87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281" name="Oval 8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82" name="Oval 8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271" name="Freeform 90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72" name="Freeform 91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273" name="Group 92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278" name="Oval 9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79" name="Oval 9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80" name="Oval 9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274" name="Group 96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275" name="Oval 9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76" name="Oval 9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77" name="Oval 9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269" name="Oval 100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2" name="Rectangle 101"/>
            <p:cNvSpPr>
              <a:spLocks noChangeArrowheads="1"/>
            </p:cNvSpPr>
            <p:nvPr/>
          </p:nvSpPr>
          <p:spPr bwMode="gray">
            <a:xfrm>
              <a:off x="4390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23" name="Group 103"/>
            <p:cNvGrpSpPr>
              <a:grpSpLocks/>
            </p:cNvGrpSpPr>
            <p:nvPr/>
          </p:nvGrpSpPr>
          <p:grpSpPr bwMode="auto">
            <a:xfrm>
              <a:off x="3622" y="2973"/>
              <a:ext cx="200" cy="339"/>
              <a:chOff x="2974" y="3217"/>
              <a:chExt cx="162" cy="291"/>
            </a:xfrm>
          </p:grpSpPr>
          <p:grpSp>
            <p:nvGrpSpPr>
              <p:cNvPr id="1223" name="Group 104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255" name="Group 105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257" name="Oval 106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58" name="Oval 107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56" name="Freeform 108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224" name="Oval 109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225" name="Rectangle 110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26" name="Group 111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253" name="Oval 112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54" name="Oval 113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27" name="Oval 114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28" name="Group 115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251" name="Oval 116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52" name="Rectangle 117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229" name="Group 118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247" name="Group 119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249" name="Oval 120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50" name="Oval 121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48" name="Oval 122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30" name="Freeform 123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231" name="Group 124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232" name="Group 125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234" name="Group 126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245" name="Oval 12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6" name="Oval 12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235" name="Freeform 129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36" name="Freeform 130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237" name="Group 131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242" name="Oval 13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3" name="Oval 13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4" name="Oval 13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238" name="Group 135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239" name="Oval 13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0" name="Oval 13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1" name="Oval 13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233" name="Oval 139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4" name="Rectangle 140"/>
            <p:cNvSpPr>
              <a:spLocks noChangeArrowheads="1"/>
            </p:cNvSpPr>
            <p:nvPr/>
          </p:nvSpPr>
          <p:spPr bwMode="gray">
            <a:xfrm>
              <a:off x="3616" y="3009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25" name="Group 142"/>
            <p:cNvGrpSpPr>
              <a:grpSpLocks/>
            </p:cNvGrpSpPr>
            <p:nvPr/>
          </p:nvGrpSpPr>
          <p:grpSpPr bwMode="auto">
            <a:xfrm>
              <a:off x="2844" y="2968"/>
              <a:ext cx="200" cy="339"/>
              <a:chOff x="2974" y="3217"/>
              <a:chExt cx="162" cy="291"/>
            </a:xfrm>
          </p:grpSpPr>
          <p:grpSp>
            <p:nvGrpSpPr>
              <p:cNvPr id="1187" name="Group 143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219" name="Group 144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221" name="Oval 145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22" name="Oval 146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20" name="Freeform 147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188" name="Oval 148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89" name="Rectangle 149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90" name="Group 150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217" name="Oval 151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18" name="Oval 152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91" name="Oval 153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92" name="Group 154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215" name="Oval 155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16" name="Rectangle 156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193" name="Group 157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211" name="Group 158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213" name="Oval 159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14" name="Oval 16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12" name="Oval 161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94" name="Freeform 162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195" name="Group 163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196" name="Group 164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198" name="Group 165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209" name="Oval 16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10" name="Oval 16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199" name="Freeform 168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00" name="Freeform 169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201" name="Group 170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206" name="Oval 17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07" name="Oval 17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08" name="Oval 17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202" name="Group 174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203" name="Oval 17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04" name="Oval 17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05" name="Oval 17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197" name="Oval 178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6" name="Rectangle 179"/>
            <p:cNvSpPr>
              <a:spLocks noChangeArrowheads="1"/>
            </p:cNvSpPr>
            <p:nvPr/>
          </p:nvSpPr>
          <p:spPr bwMode="gray">
            <a:xfrm>
              <a:off x="2838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27" name="Group 181"/>
            <p:cNvGrpSpPr>
              <a:grpSpLocks/>
            </p:cNvGrpSpPr>
            <p:nvPr/>
          </p:nvGrpSpPr>
          <p:grpSpPr bwMode="auto">
            <a:xfrm>
              <a:off x="4670" y="2968"/>
              <a:ext cx="200" cy="339"/>
              <a:chOff x="2974" y="3217"/>
              <a:chExt cx="162" cy="291"/>
            </a:xfrm>
          </p:grpSpPr>
          <p:grpSp>
            <p:nvGrpSpPr>
              <p:cNvPr id="1151" name="Group 182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183" name="Group 183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185" name="Oval 18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86" name="Oval 185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84" name="Freeform 186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152" name="Oval 187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53" name="Rectangle 188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54" name="Group 189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181" name="Oval 190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82" name="Oval 191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55" name="Oval 192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56" name="Group 193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179" name="Oval 194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80" name="Rectangle 195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157" name="Group 196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175" name="Group 197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177" name="Oval 198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78" name="Oval 199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76" name="Oval 200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58" name="Freeform 201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159" name="Group 202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160" name="Group 203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162" name="Group 204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173" name="Oval 20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74" name="Oval 20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163" name="Freeform 207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64" name="Freeform 208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165" name="Group 209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170" name="Oval 21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71" name="Oval 21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72" name="Oval 21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166" name="Group 213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167" name="Oval 21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68" name="Oval 21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69" name="Oval 21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161" name="Oval 217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8" name="Rectangle 218"/>
            <p:cNvSpPr>
              <a:spLocks noChangeArrowheads="1"/>
            </p:cNvSpPr>
            <p:nvPr/>
          </p:nvSpPr>
          <p:spPr bwMode="gray">
            <a:xfrm>
              <a:off x="4664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29" name="Group 220"/>
            <p:cNvGrpSpPr>
              <a:grpSpLocks/>
            </p:cNvGrpSpPr>
            <p:nvPr/>
          </p:nvGrpSpPr>
          <p:grpSpPr bwMode="auto">
            <a:xfrm>
              <a:off x="4952" y="2968"/>
              <a:ext cx="200" cy="339"/>
              <a:chOff x="2974" y="3217"/>
              <a:chExt cx="162" cy="291"/>
            </a:xfrm>
          </p:grpSpPr>
          <p:grpSp>
            <p:nvGrpSpPr>
              <p:cNvPr id="1115" name="Group 221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147" name="Group 222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149" name="Oval 223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50" name="Oval 22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48" name="Freeform 225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116" name="Oval 226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17" name="Rectangle 227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18" name="Group 228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145" name="Oval 229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46" name="Oval 230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19" name="Oval 231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20" name="Group 232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143" name="Oval 233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44" name="Rectangle 234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121" name="Group 235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139" name="Group 236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141" name="Oval 237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42" name="Oval 238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40" name="Oval 239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22" name="Freeform 240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123" name="Group 241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124" name="Group 242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126" name="Group 243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137" name="Oval 24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8" name="Oval 24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127" name="Freeform 246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28" name="Freeform 247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129" name="Group 248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134" name="Oval 24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5" name="Oval 25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6" name="Oval 25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130" name="Group 252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131" name="Oval 25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2" name="Oval 25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3" name="Oval 25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125" name="Oval 256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30" name="Rectangle 257"/>
            <p:cNvSpPr>
              <a:spLocks noChangeArrowheads="1"/>
            </p:cNvSpPr>
            <p:nvPr/>
          </p:nvSpPr>
          <p:spPr bwMode="gray">
            <a:xfrm>
              <a:off x="4946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aphicFrame>
          <p:nvGraphicFramePr>
            <p:cNvPr id="31" name="Object 260"/>
            <p:cNvGraphicFramePr>
              <a:graphicFrameLocks/>
            </p:cNvGraphicFramePr>
            <p:nvPr/>
          </p:nvGraphicFramePr>
          <p:xfrm>
            <a:off x="2078" y="248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61" name="Clip" r:id="rId17" imgW="1898640" imgH="3657600" progId="MS_ClipArt_Gallery.2">
                    <p:embed/>
                  </p:oleObj>
                </mc:Choice>
                <mc:Fallback>
                  <p:oleObj name="Clip" r:id="rId17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078" y="248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2" name="Rectangle 261"/>
            <p:cNvSpPr>
              <a:spLocks noChangeArrowheads="1"/>
            </p:cNvSpPr>
            <p:nvPr/>
          </p:nvSpPr>
          <p:spPr bwMode="gray">
            <a:xfrm>
              <a:off x="2064" y="251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pSp>
          <p:nvGrpSpPr>
            <p:cNvPr id="33" name="Group 263"/>
            <p:cNvGrpSpPr>
              <a:grpSpLocks/>
            </p:cNvGrpSpPr>
            <p:nvPr/>
          </p:nvGrpSpPr>
          <p:grpSpPr bwMode="auto">
            <a:xfrm>
              <a:off x="2341" y="2488"/>
              <a:ext cx="192" cy="328"/>
              <a:chOff x="4956" y="1634"/>
              <a:chExt cx="257" cy="374"/>
            </a:xfrm>
          </p:grpSpPr>
          <p:grpSp>
            <p:nvGrpSpPr>
              <p:cNvPr id="1079" name="Group 264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1111" name="Group 265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1113" name="Oval 266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14" name="Oval 267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12" name="Freeform 268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080" name="Oval 269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81" name="Rectangle 270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82" name="Group 271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1109" name="Oval 272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10" name="Oval 273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83" name="Oval 274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84" name="Group 275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1107" name="Oval 276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08" name="Rectangle 277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085" name="Group 278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1103" name="Group 279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1105" name="Oval 280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06" name="Oval 281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04" name="Oval 282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86" name="Freeform 283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87" name="Group 284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1088" name="Group 285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1090" name="Group 286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1101" name="Oval 28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02" name="Oval 28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091" name="Freeform 289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92" name="Freeform 290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093" name="Group 291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1098" name="Oval 29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99" name="Oval 29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00" name="Oval 29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094" name="Group 295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1095" name="Oval 29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96" name="Oval 29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97" name="Oval 29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089" name="Oval 299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34" name="Rectangle 300"/>
            <p:cNvSpPr>
              <a:spLocks noChangeArrowheads="1"/>
            </p:cNvSpPr>
            <p:nvPr/>
          </p:nvSpPr>
          <p:spPr bwMode="gray">
            <a:xfrm>
              <a:off x="2326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35" name="Group 302"/>
            <p:cNvGrpSpPr>
              <a:grpSpLocks/>
            </p:cNvGrpSpPr>
            <p:nvPr/>
          </p:nvGrpSpPr>
          <p:grpSpPr bwMode="auto">
            <a:xfrm>
              <a:off x="2599" y="2488"/>
              <a:ext cx="192" cy="328"/>
              <a:chOff x="4956" y="1634"/>
              <a:chExt cx="257" cy="374"/>
            </a:xfrm>
          </p:grpSpPr>
          <p:grpSp>
            <p:nvGrpSpPr>
              <p:cNvPr id="1043" name="Group 303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1075" name="Group 304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1077" name="Oval 305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78" name="Oval 306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76" name="Freeform 307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044" name="Oval 308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45" name="Rectangle 309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46" name="Group 310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1073" name="Oval 311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74" name="Oval 312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47" name="Oval 313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48" name="Group 314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1071" name="Oval 315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72" name="Rectangle 316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049" name="Group 317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1067" name="Group 318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1069" name="Oval 319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70" name="Oval 320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68" name="Oval 321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50" name="Freeform 322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51" name="Group 323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1052" name="Group 324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1054" name="Group 325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1065" name="Oval 32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6" name="Oval 32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055" name="Freeform 328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56" name="Freeform 329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057" name="Group 330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1062" name="Oval 33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3" name="Oval 33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4" name="Oval 33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058" name="Group 334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1059" name="Oval 33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0" name="Oval 33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1" name="Oval 33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053" name="Oval 338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36" name="Rectangle 339"/>
            <p:cNvSpPr>
              <a:spLocks noChangeArrowheads="1"/>
            </p:cNvSpPr>
            <p:nvPr/>
          </p:nvSpPr>
          <p:spPr bwMode="gray">
            <a:xfrm>
              <a:off x="2584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37" name="Group 341"/>
            <p:cNvGrpSpPr>
              <a:grpSpLocks/>
            </p:cNvGrpSpPr>
            <p:nvPr/>
          </p:nvGrpSpPr>
          <p:grpSpPr bwMode="auto">
            <a:xfrm>
              <a:off x="3127" y="2488"/>
              <a:ext cx="192" cy="328"/>
              <a:chOff x="4956" y="1634"/>
              <a:chExt cx="257" cy="374"/>
            </a:xfrm>
          </p:grpSpPr>
          <p:grpSp>
            <p:nvGrpSpPr>
              <p:cNvPr id="1007" name="Group 342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1039" name="Group 343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1041" name="Oval 344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42" name="Oval 345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40" name="Freeform 346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008" name="Oval 347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09" name="Rectangle 348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10" name="Group 349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1037" name="Oval 350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38" name="Oval 351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11" name="Oval 352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12" name="Group 353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1035" name="Oval 354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36" name="Rectangle 355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013" name="Group 356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1031" name="Group 357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1033" name="Oval 358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34" name="Oval 359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32" name="Oval 360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14" name="Freeform 361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15" name="Group 362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1016" name="Group 363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1018" name="Group 364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1029" name="Oval 36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30" name="Oval 36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019" name="Freeform 367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20" name="Freeform 368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021" name="Group 369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1026" name="Oval 37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27" name="Oval 37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28" name="Oval 37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022" name="Group 373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1023" name="Oval 37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24" name="Oval 37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25" name="Oval 37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017" name="Oval 377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38" name="Rectangle 378"/>
            <p:cNvSpPr>
              <a:spLocks noChangeArrowheads="1"/>
            </p:cNvSpPr>
            <p:nvPr/>
          </p:nvSpPr>
          <p:spPr bwMode="gray">
            <a:xfrm>
              <a:off x="3112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39" name="Group 380"/>
            <p:cNvGrpSpPr>
              <a:grpSpLocks/>
            </p:cNvGrpSpPr>
            <p:nvPr/>
          </p:nvGrpSpPr>
          <p:grpSpPr bwMode="auto">
            <a:xfrm>
              <a:off x="4944" y="2488"/>
              <a:ext cx="192" cy="328"/>
              <a:chOff x="4956" y="1634"/>
              <a:chExt cx="257" cy="374"/>
            </a:xfrm>
          </p:grpSpPr>
          <p:grpSp>
            <p:nvGrpSpPr>
              <p:cNvPr id="971" name="Group 381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1003" name="Group 382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1005" name="Oval 383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06" name="Oval 384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04" name="Freeform 385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972" name="Oval 386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973" name="Rectangle 387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74" name="Group 388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1001" name="Oval 389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02" name="Oval 390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75" name="Oval 391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76" name="Group 392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999" name="Oval 393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00" name="Rectangle 394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977" name="Group 395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995" name="Group 396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997" name="Oval 397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98" name="Oval 398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96" name="Oval 399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78" name="Freeform 400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979" name="Group 401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980" name="Group 402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982" name="Group 403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993" name="Oval 40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94" name="Oval 40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983" name="Freeform 406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84" name="Freeform 407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985" name="Group 408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990" name="Oval 40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91" name="Oval 41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92" name="Oval 41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986" name="Group 412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987" name="Oval 41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88" name="Oval 41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89" name="Oval 41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981" name="Oval 416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40" name="Rectangle 417"/>
            <p:cNvSpPr>
              <a:spLocks noChangeArrowheads="1"/>
            </p:cNvSpPr>
            <p:nvPr/>
          </p:nvSpPr>
          <p:spPr bwMode="gray">
            <a:xfrm>
              <a:off x="4929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41" name="Group 419"/>
            <p:cNvGrpSpPr>
              <a:grpSpLocks/>
            </p:cNvGrpSpPr>
            <p:nvPr/>
          </p:nvGrpSpPr>
          <p:grpSpPr bwMode="auto">
            <a:xfrm>
              <a:off x="5184" y="2488"/>
              <a:ext cx="192" cy="328"/>
              <a:chOff x="4956" y="1634"/>
              <a:chExt cx="257" cy="374"/>
            </a:xfrm>
          </p:grpSpPr>
          <p:grpSp>
            <p:nvGrpSpPr>
              <p:cNvPr id="935" name="Group 420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967" name="Group 421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969" name="Oval 422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70" name="Oval 423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68" name="Freeform 424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936" name="Oval 425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937" name="Rectangle 426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38" name="Group 427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965" name="Oval 428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966" name="Oval 429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39" name="Oval 430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40" name="Group 431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963" name="Oval 432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964" name="Rectangle 433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941" name="Group 434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959" name="Group 435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961" name="Oval 436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62" name="Oval 437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60" name="Oval 438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42" name="Freeform 439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943" name="Group 440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944" name="Group 441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946" name="Group 442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957" name="Oval 44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8" name="Oval 44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947" name="Freeform 445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48" name="Freeform 446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949" name="Group 447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954" name="Oval 44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5" name="Oval 44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6" name="Oval 45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950" name="Group 451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951" name="Oval 45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2" name="Oval 45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3" name="Oval 45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945" name="Oval 455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42" name="Rectangle 456"/>
            <p:cNvSpPr>
              <a:spLocks noChangeArrowheads="1"/>
            </p:cNvSpPr>
            <p:nvPr/>
          </p:nvSpPr>
          <p:spPr bwMode="gray">
            <a:xfrm>
              <a:off x="5169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43" name="Group 458"/>
            <p:cNvGrpSpPr>
              <a:grpSpLocks/>
            </p:cNvGrpSpPr>
            <p:nvPr/>
          </p:nvGrpSpPr>
          <p:grpSpPr bwMode="auto">
            <a:xfrm>
              <a:off x="3368" y="2488"/>
              <a:ext cx="192" cy="328"/>
              <a:chOff x="4956" y="1634"/>
              <a:chExt cx="257" cy="374"/>
            </a:xfrm>
          </p:grpSpPr>
          <p:grpSp>
            <p:nvGrpSpPr>
              <p:cNvPr id="899" name="Group 459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931" name="Group 460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933" name="Oval 461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34" name="Oval 462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32" name="Freeform 463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900" name="Oval 464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901" name="Rectangle 465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02" name="Group 466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929" name="Oval 467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930" name="Oval 468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03" name="Oval 469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04" name="Group 470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927" name="Oval 471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928" name="Rectangle 472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905" name="Group 473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923" name="Group 474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925" name="Oval 475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26" name="Oval 476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24" name="Oval 477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06" name="Freeform 478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907" name="Group 479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908" name="Group 480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910" name="Group 481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921" name="Oval 48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22" name="Oval 48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911" name="Freeform 484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12" name="Freeform 485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913" name="Group 486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918" name="Oval 48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19" name="Oval 48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20" name="Oval 48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914" name="Group 490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915" name="Oval 49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16" name="Oval 49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17" name="Oval 49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909" name="Oval 494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44" name="Rectangle 495"/>
            <p:cNvSpPr>
              <a:spLocks noChangeArrowheads="1"/>
            </p:cNvSpPr>
            <p:nvPr/>
          </p:nvSpPr>
          <p:spPr bwMode="gray">
            <a:xfrm>
              <a:off x="3353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45" name="Group 497"/>
            <p:cNvGrpSpPr>
              <a:grpSpLocks/>
            </p:cNvGrpSpPr>
            <p:nvPr/>
          </p:nvGrpSpPr>
          <p:grpSpPr bwMode="auto">
            <a:xfrm>
              <a:off x="4125" y="2488"/>
              <a:ext cx="192" cy="328"/>
              <a:chOff x="4956" y="1634"/>
              <a:chExt cx="257" cy="374"/>
            </a:xfrm>
          </p:grpSpPr>
          <p:grpSp>
            <p:nvGrpSpPr>
              <p:cNvPr id="863" name="Group 498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895" name="Group 499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897" name="Oval 500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98" name="Oval 501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896" name="Freeform 502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864" name="Oval 503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65" name="Rectangle 504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866" name="Group 505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893" name="Oval 506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94" name="Oval 507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67" name="Oval 508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868" name="Group 509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891" name="Oval 510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92" name="Rectangle 511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869" name="Group 512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887" name="Group 513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889" name="Oval 514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90" name="Oval 515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888" name="Oval 516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70" name="Freeform 517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871" name="Group 518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872" name="Group 519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874" name="Group 520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885" name="Oval 52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6" name="Oval 52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875" name="Freeform 523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76" name="Freeform 524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877" name="Group 525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882" name="Oval 52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3" name="Oval 52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4" name="Oval 52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878" name="Group 529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879" name="Oval 53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0" name="Oval 53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1" name="Oval 53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873" name="Oval 533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46" name="Rectangle 534"/>
            <p:cNvSpPr>
              <a:spLocks noChangeArrowheads="1"/>
            </p:cNvSpPr>
            <p:nvPr/>
          </p:nvSpPr>
          <p:spPr bwMode="gray">
            <a:xfrm>
              <a:off x="4110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47" name="Group 536"/>
            <p:cNvGrpSpPr>
              <a:grpSpLocks/>
            </p:cNvGrpSpPr>
            <p:nvPr/>
          </p:nvGrpSpPr>
          <p:grpSpPr bwMode="auto">
            <a:xfrm>
              <a:off x="2846" y="2774"/>
              <a:ext cx="192" cy="42"/>
              <a:chOff x="4956" y="1960"/>
              <a:chExt cx="257" cy="48"/>
            </a:xfrm>
          </p:grpSpPr>
          <p:grpSp>
            <p:nvGrpSpPr>
              <p:cNvPr id="859" name="Group 537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861" name="Oval 538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62" name="Oval 539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60" name="Freeform 540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8" name="Oval 541"/>
            <p:cNvSpPr>
              <a:spLocks noChangeArrowheads="1"/>
            </p:cNvSpPr>
            <p:nvPr/>
          </p:nvSpPr>
          <p:spPr bwMode="gray">
            <a:xfrm>
              <a:off x="2847" y="277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9" name="Rectangle 542"/>
            <p:cNvSpPr>
              <a:spLocks noChangeArrowheads="1"/>
            </p:cNvSpPr>
            <p:nvPr/>
          </p:nvSpPr>
          <p:spPr bwMode="gray">
            <a:xfrm>
              <a:off x="2847" y="2525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50" name="Group 543"/>
            <p:cNvGrpSpPr>
              <a:grpSpLocks/>
            </p:cNvGrpSpPr>
            <p:nvPr/>
          </p:nvGrpSpPr>
          <p:grpSpPr bwMode="auto">
            <a:xfrm>
              <a:off x="2847" y="2507"/>
              <a:ext cx="191" cy="37"/>
              <a:chOff x="4957" y="1656"/>
              <a:chExt cx="256" cy="42"/>
            </a:xfrm>
          </p:grpSpPr>
          <p:sp>
            <p:nvSpPr>
              <p:cNvPr id="857" name="Oval 544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58" name="Oval 545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51" name="Oval 546"/>
            <p:cNvSpPr>
              <a:spLocks noChangeArrowheads="1"/>
            </p:cNvSpPr>
            <p:nvPr/>
          </p:nvSpPr>
          <p:spPr bwMode="gray">
            <a:xfrm>
              <a:off x="2847" y="2504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52" name="Group 547"/>
            <p:cNvGrpSpPr>
              <a:grpSpLocks/>
            </p:cNvGrpSpPr>
            <p:nvPr/>
          </p:nvGrpSpPr>
          <p:grpSpPr bwMode="auto">
            <a:xfrm>
              <a:off x="2846" y="2494"/>
              <a:ext cx="191" cy="32"/>
              <a:chOff x="4956" y="1641"/>
              <a:chExt cx="256" cy="36"/>
            </a:xfrm>
          </p:grpSpPr>
          <p:sp>
            <p:nvSpPr>
              <p:cNvPr id="855" name="Oval 548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56" name="Rectangle 549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53" name="Group 550"/>
            <p:cNvGrpSpPr>
              <a:grpSpLocks/>
            </p:cNvGrpSpPr>
            <p:nvPr/>
          </p:nvGrpSpPr>
          <p:grpSpPr bwMode="auto">
            <a:xfrm>
              <a:off x="2846" y="2488"/>
              <a:ext cx="191" cy="31"/>
              <a:chOff x="4956" y="1634"/>
              <a:chExt cx="256" cy="35"/>
            </a:xfrm>
          </p:grpSpPr>
          <p:grpSp>
            <p:nvGrpSpPr>
              <p:cNvPr id="851" name="Group 551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853" name="Oval 552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54" name="Oval 553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52" name="Oval 554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54" name="Freeform 555"/>
            <p:cNvSpPr>
              <a:spLocks/>
            </p:cNvSpPr>
            <p:nvPr/>
          </p:nvSpPr>
          <p:spPr bwMode="gray">
            <a:xfrm>
              <a:off x="2865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55" name="Group 556"/>
            <p:cNvGrpSpPr>
              <a:grpSpLocks/>
            </p:cNvGrpSpPr>
            <p:nvPr/>
          </p:nvGrpSpPr>
          <p:grpSpPr bwMode="auto">
            <a:xfrm>
              <a:off x="2923" y="2492"/>
              <a:ext cx="38" cy="27"/>
              <a:chOff x="5059" y="1638"/>
              <a:chExt cx="51" cy="31"/>
            </a:xfrm>
          </p:grpSpPr>
          <p:grpSp>
            <p:nvGrpSpPr>
              <p:cNvPr id="836" name="Group 557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838" name="Group 558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849" name="Oval 559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50" name="Oval 560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839" name="Freeform 561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40" name="Freeform 562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841" name="Group 563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846" name="Oval 564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47" name="Oval 565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48" name="Oval 566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842" name="Group 567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843" name="Oval 568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44" name="Oval 569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45" name="Oval 570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837" name="Oval 571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56" name="Rectangle 572"/>
            <p:cNvSpPr>
              <a:spLocks noChangeArrowheads="1"/>
            </p:cNvSpPr>
            <p:nvPr/>
          </p:nvSpPr>
          <p:spPr bwMode="gray">
            <a:xfrm>
              <a:off x="2814" y="2536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57" name="Group 574"/>
            <p:cNvGrpSpPr>
              <a:grpSpLocks/>
            </p:cNvGrpSpPr>
            <p:nvPr/>
          </p:nvGrpSpPr>
          <p:grpSpPr bwMode="auto">
            <a:xfrm>
              <a:off x="3852" y="2774"/>
              <a:ext cx="192" cy="42"/>
              <a:chOff x="4956" y="1960"/>
              <a:chExt cx="257" cy="48"/>
            </a:xfrm>
          </p:grpSpPr>
          <p:grpSp>
            <p:nvGrpSpPr>
              <p:cNvPr id="832" name="Group 575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834" name="Oval 576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35" name="Oval 577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33" name="Freeform 578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8" name="Oval 579"/>
            <p:cNvSpPr>
              <a:spLocks noChangeArrowheads="1"/>
            </p:cNvSpPr>
            <p:nvPr/>
          </p:nvSpPr>
          <p:spPr bwMode="gray">
            <a:xfrm>
              <a:off x="3853" y="277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9" name="Rectangle 580"/>
            <p:cNvSpPr>
              <a:spLocks noChangeArrowheads="1"/>
            </p:cNvSpPr>
            <p:nvPr/>
          </p:nvSpPr>
          <p:spPr bwMode="gray">
            <a:xfrm>
              <a:off x="3853" y="2525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60" name="Group 581"/>
            <p:cNvGrpSpPr>
              <a:grpSpLocks/>
            </p:cNvGrpSpPr>
            <p:nvPr/>
          </p:nvGrpSpPr>
          <p:grpSpPr bwMode="auto">
            <a:xfrm>
              <a:off x="3853" y="2507"/>
              <a:ext cx="191" cy="37"/>
              <a:chOff x="4957" y="1656"/>
              <a:chExt cx="256" cy="42"/>
            </a:xfrm>
          </p:grpSpPr>
          <p:sp>
            <p:nvSpPr>
              <p:cNvPr id="830" name="Oval 582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31" name="Oval 583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61" name="Oval 584"/>
            <p:cNvSpPr>
              <a:spLocks noChangeArrowheads="1"/>
            </p:cNvSpPr>
            <p:nvPr/>
          </p:nvSpPr>
          <p:spPr bwMode="gray">
            <a:xfrm>
              <a:off x="3853" y="2504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62" name="Group 585"/>
            <p:cNvGrpSpPr>
              <a:grpSpLocks/>
            </p:cNvGrpSpPr>
            <p:nvPr/>
          </p:nvGrpSpPr>
          <p:grpSpPr bwMode="auto">
            <a:xfrm>
              <a:off x="3852" y="2494"/>
              <a:ext cx="191" cy="32"/>
              <a:chOff x="4956" y="1641"/>
              <a:chExt cx="256" cy="36"/>
            </a:xfrm>
          </p:grpSpPr>
          <p:sp>
            <p:nvSpPr>
              <p:cNvPr id="828" name="Oval 586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29" name="Rectangle 587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63" name="Group 588"/>
            <p:cNvGrpSpPr>
              <a:grpSpLocks/>
            </p:cNvGrpSpPr>
            <p:nvPr/>
          </p:nvGrpSpPr>
          <p:grpSpPr bwMode="auto">
            <a:xfrm>
              <a:off x="3852" y="2488"/>
              <a:ext cx="191" cy="31"/>
              <a:chOff x="4956" y="1634"/>
              <a:chExt cx="256" cy="35"/>
            </a:xfrm>
          </p:grpSpPr>
          <p:grpSp>
            <p:nvGrpSpPr>
              <p:cNvPr id="824" name="Group 589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826" name="Oval 590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27" name="Oval 591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25" name="Oval 592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64" name="Freeform 593"/>
            <p:cNvSpPr>
              <a:spLocks/>
            </p:cNvSpPr>
            <p:nvPr/>
          </p:nvSpPr>
          <p:spPr bwMode="gray">
            <a:xfrm>
              <a:off x="3871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65" name="Group 594"/>
            <p:cNvGrpSpPr>
              <a:grpSpLocks/>
            </p:cNvGrpSpPr>
            <p:nvPr/>
          </p:nvGrpSpPr>
          <p:grpSpPr bwMode="auto">
            <a:xfrm>
              <a:off x="3929" y="2492"/>
              <a:ext cx="38" cy="27"/>
              <a:chOff x="5059" y="1638"/>
              <a:chExt cx="51" cy="31"/>
            </a:xfrm>
          </p:grpSpPr>
          <p:grpSp>
            <p:nvGrpSpPr>
              <p:cNvPr id="809" name="Group 595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811" name="Group 596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822" name="Oval 597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23" name="Oval 598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812" name="Freeform 599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13" name="Freeform 600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814" name="Group 601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819" name="Oval 602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20" name="Oval 603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21" name="Oval 604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815" name="Group 605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816" name="Oval 606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17" name="Oval 607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18" name="Oval 608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810" name="Oval 609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66" name="Rectangle 610"/>
            <p:cNvSpPr>
              <a:spLocks noChangeArrowheads="1"/>
            </p:cNvSpPr>
            <p:nvPr/>
          </p:nvSpPr>
          <p:spPr bwMode="gray">
            <a:xfrm>
              <a:off x="3820" y="2536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67" name="Group 612"/>
            <p:cNvGrpSpPr>
              <a:grpSpLocks/>
            </p:cNvGrpSpPr>
            <p:nvPr/>
          </p:nvGrpSpPr>
          <p:grpSpPr bwMode="auto">
            <a:xfrm>
              <a:off x="4381" y="2774"/>
              <a:ext cx="192" cy="42"/>
              <a:chOff x="4956" y="1960"/>
              <a:chExt cx="257" cy="48"/>
            </a:xfrm>
          </p:grpSpPr>
          <p:grpSp>
            <p:nvGrpSpPr>
              <p:cNvPr id="805" name="Group 613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807" name="Oval 614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08" name="Oval 615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06" name="Freeform 616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8" name="Oval 617"/>
            <p:cNvSpPr>
              <a:spLocks noChangeArrowheads="1"/>
            </p:cNvSpPr>
            <p:nvPr/>
          </p:nvSpPr>
          <p:spPr bwMode="gray">
            <a:xfrm>
              <a:off x="4382" y="277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9" name="Rectangle 618"/>
            <p:cNvSpPr>
              <a:spLocks noChangeArrowheads="1"/>
            </p:cNvSpPr>
            <p:nvPr/>
          </p:nvSpPr>
          <p:spPr bwMode="gray">
            <a:xfrm>
              <a:off x="4382" y="2525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70" name="Group 619"/>
            <p:cNvGrpSpPr>
              <a:grpSpLocks/>
            </p:cNvGrpSpPr>
            <p:nvPr/>
          </p:nvGrpSpPr>
          <p:grpSpPr bwMode="auto">
            <a:xfrm>
              <a:off x="4382" y="2507"/>
              <a:ext cx="191" cy="37"/>
              <a:chOff x="4957" y="1656"/>
              <a:chExt cx="256" cy="42"/>
            </a:xfrm>
          </p:grpSpPr>
          <p:sp>
            <p:nvSpPr>
              <p:cNvPr id="803" name="Oval 620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04" name="Oval 621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71" name="Oval 622"/>
            <p:cNvSpPr>
              <a:spLocks noChangeArrowheads="1"/>
            </p:cNvSpPr>
            <p:nvPr/>
          </p:nvSpPr>
          <p:spPr bwMode="gray">
            <a:xfrm>
              <a:off x="4382" y="2504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72" name="Group 623"/>
            <p:cNvGrpSpPr>
              <a:grpSpLocks/>
            </p:cNvGrpSpPr>
            <p:nvPr/>
          </p:nvGrpSpPr>
          <p:grpSpPr bwMode="auto">
            <a:xfrm>
              <a:off x="4381" y="2494"/>
              <a:ext cx="191" cy="32"/>
              <a:chOff x="4956" y="1641"/>
              <a:chExt cx="256" cy="36"/>
            </a:xfrm>
          </p:grpSpPr>
          <p:sp>
            <p:nvSpPr>
              <p:cNvPr id="801" name="Oval 624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02" name="Rectangle 625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73" name="Group 626"/>
            <p:cNvGrpSpPr>
              <a:grpSpLocks/>
            </p:cNvGrpSpPr>
            <p:nvPr/>
          </p:nvGrpSpPr>
          <p:grpSpPr bwMode="auto">
            <a:xfrm>
              <a:off x="4381" y="2488"/>
              <a:ext cx="191" cy="31"/>
              <a:chOff x="4956" y="1634"/>
              <a:chExt cx="256" cy="35"/>
            </a:xfrm>
          </p:grpSpPr>
          <p:grpSp>
            <p:nvGrpSpPr>
              <p:cNvPr id="797" name="Group 627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799" name="Oval 628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00" name="Oval 629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98" name="Oval 630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74" name="Freeform 631"/>
            <p:cNvSpPr>
              <a:spLocks/>
            </p:cNvSpPr>
            <p:nvPr/>
          </p:nvSpPr>
          <p:spPr bwMode="gray">
            <a:xfrm>
              <a:off x="4400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75" name="Group 632"/>
            <p:cNvGrpSpPr>
              <a:grpSpLocks/>
            </p:cNvGrpSpPr>
            <p:nvPr/>
          </p:nvGrpSpPr>
          <p:grpSpPr bwMode="auto">
            <a:xfrm>
              <a:off x="4458" y="2492"/>
              <a:ext cx="38" cy="27"/>
              <a:chOff x="5059" y="1638"/>
              <a:chExt cx="51" cy="31"/>
            </a:xfrm>
          </p:grpSpPr>
          <p:grpSp>
            <p:nvGrpSpPr>
              <p:cNvPr id="782" name="Group 633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784" name="Group 634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795" name="Oval 635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6" name="Oval 636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85" name="Freeform 637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86" name="Freeform 638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787" name="Group 639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792" name="Oval 640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3" name="Oval 641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4" name="Oval 642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788" name="Group 643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789" name="Oval 644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0" name="Oval 645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1" name="Oval 646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783" name="Oval 647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76" name="Rectangle 648"/>
            <p:cNvSpPr>
              <a:spLocks noChangeArrowheads="1"/>
            </p:cNvSpPr>
            <p:nvPr/>
          </p:nvSpPr>
          <p:spPr bwMode="gray">
            <a:xfrm>
              <a:off x="4349" y="2536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77" name="Group 650"/>
            <p:cNvGrpSpPr>
              <a:grpSpLocks/>
            </p:cNvGrpSpPr>
            <p:nvPr/>
          </p:nvGrpSpPr>
          <p:grpSpPr bwMode="auto">
            <a:xfrm>
              <a:off x="4671" y="2774"/>
              <a:ext cx="192" cy="42"/>
              <a:chOff x="4956" y="1960"/>
              <a:chExt cx="257" cy="48"/>
            </a:xfrm>
          </p:grpSpPr>
          <p:grpSp>
            <p:nvGrpSpPr>
              <p:cNvPr id="778" name="Group 651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780" name="Oval 652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81" name="Oval 653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79" name="Freeform 654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8" name="Oval 655"/>
            <p:cNvSpPr>
              <a:spLocks noChangeArrowheads="1"/>
            </p:cNvSpPr>
            <p:nvPr/>
          </p:nvSpPr>
          <p:spPr bwMode="gray">
            <a:xfrm>
              <a:off x="4672" y="277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9" name="Rectangle 656"/>
            <p:cNvSpPr>
              <a:spLocks noChangeArrowheads="1"/>
            </p:cNvSpPr>
            <p:nvPr/>
          </p:nvSpPr>
          <p:spPr bwMode="gray">
            <a:xfrm>
              <a:off x="4672" y="2525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80" name="Group 657"/>
            <p:cNvGrpSpPr>
              <a:grpSpLocks/>
            </p:cNvGrpSpPr>
            <p:nvPr/>
          </p:nvGrpSpPr>
          <p:grpSpPr bwMode="auto">
            <a:xfrm>
              <a:off x="4672" y="2507"/>
              <a:ext cx="191" cy="37"/>
              <a:chOff x="4957" y="1656"/>
              <a:chExt cx="256" cy="42"/>
            </a:xfrm>
          </p:grpSpPr>
          <p:sp>
            <p:nvSpPr>
              <p:cNvPr id="776" name="Oval 658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777" name="Oval 659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81" name="Oval 660"/>
            <p:cNvSpPr>
              <a:spLocks noChangeArrowheads="1"/>
            </p:cNvSpPr>
            <p:nvPr/>
          </p:nvSpPr>
          <p:spPr bwMode="gray">
            <a:xfrm>
              <a:off x="4672" y="2504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82" name="Group 661"/>
            <p:cNvGrpSpPr>
              <a:grpSpLocks/>
            </p:cNvGrpSpPr>
            <p:nvPr/>
          </p:nvGrpSpPr>
          <p:grpSpPr bwMode="auto">
            <a:xfrm>
              <a:off x="4671" y="2494"/>
              <a:ext cx="191" cy="32"/>
              <a:chOff x="4956" y="1641"/>
              <a:chExt cx="256" cy="36"/>
            </a:xfrm>
          </p:grpSpPr>
          <p:sp>
            <p:nvSpPr>
              <p:cNvPr id="774" name="Oval 662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775" name="Rectangle 663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83" name="Group 664"/>
            <p:cNvGrpSpPr>
              <a:grpSpLocks/>
            </p:cNvGrpSpPr>
            <p:nvPr/>
          </p:nvGrpSpPr>
          <p:grpSpPr bwMode="auto">
            <a:xfrm>
              <a:off x="4671" y="2488"/>
              <a:ext cx="191" cy="31"/>
              <a:chOff x="4956" y="1634"/>
              <a:chExt cx="256" cy="35"/>
            </a:xfrm>
          </p:grpSpPr>
          <p:grpSp>
            <p:nvGrpSpPr>
              <p:cNvPr id="770" name="Group 665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772" name="Oval 666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73" name="Oval 667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71" name="Oval 668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84" name="Freeform 669"/>
            <p:cNvSpPr>
              <a:spLocks/>
            </p:cNvSpPr>
            <p:nvPr/>
          </p:nvSpPr>
          <p:spPr bwMode="gray">
            <a:xfrm>
              <a:off x="4690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85" name="Group 670"/>
            <p:cNvGrpSpPr>
              <a:grpSpLocks/>
            </p:cNvGrpSpPr>
            <p:nvPr/>
          </p:nvGrpSpPr>
          <p:grpSpPr bwMode="auto">
            <a:xfrm>
              <a:off x="4748" y="2492"/>
              <a:ext cx="38" cy="27"/>
              <a:chOff x="5059" y="1638"/>
              <a:chExt cx="51" cy="31"/>
            </a:xfrm>
          </p:grpSpPr>
          <p:grpSp>
            <p:nvGrpSpPr>
              <p:cNvPr id="755" name="Group 671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757" name="Group 672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768" name="Oval 673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9" name="Oval 674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58" name="Freeform 675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59" name="Freeform 676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760" name="Group 677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765" name="Oval 678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6" name="Oval 679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7" name="Oval 680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761" name="Group 681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762" name="Oval 682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3" name="Oval 683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4" name="Oval 684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756" name="Oval 685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86" name="Rectangle 686"/>
            <p:cNvSpPr>
              <a:spLocks noChangeArrowheads="1"/>
            </p:cNvSpPr>
            <p:nvPr/>
          </p:nvSpPr>
          <p:spPr bwMode="gray">
            <a:xfrm>
              <a:off x="4639" y="2536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87" name="Group 688"/>
            <p:cNvGrpSpPr>
              <a:grpSpLocks/>
            </p:cNvGrpSpPr>
            <p:nvPr/>
          </p:nvGrpSpPr>
          <p:grpSpPr bwMode="auto">
            <a:xfrm>
              <a:off x="3598" y="2774"/>
              <a:ext cx="192" cy="42"/>
              <a:chOff x="4956" y="1960"/>
              <a:chExt cx="257" cy="48"/>
            </a:xfrm>
          </p:grpSpPr>
          <p:grpSp>
            <p:nvGrpSpPr>
              <p:cNvPr id="751" name="Group 689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753" name="Oval 690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5F5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54" name="Oval 691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5F5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52" name="Freeform 692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FB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8" name="Oval 693"/>
            <p:cNvSpPr>
              <a:spLocks noChangeArrowheads="1"/>
            </p:cNvSpPr>
            <p:nvPr/>
          </p:nvSpPr>
          <p:spPr bwMode="gray">
            <a:xfrm>
              <a:off x="3599" y="2772"/>
              <a:ext cx="191" cy="34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9" name="Rectangle 694"/>
            <p:cNvSpPr>
              <a:spLocks noChangeArrowheads="1"/>
            </p:cNvSpPr>
            <p:nvPr/>
          </p:nvSpPr>
          <p:spPr bwMode="gray">
            <a:xfrm>
              <a:off x="3599" y="2525"/>
              <a:ext cx="191" cy="264"/>
            </a:xfrm>
            <a:prstGeom prst="rect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90" name="Group 695"/>
            <p:cNvGrpSpPr>
              <a:grpSpLocks/>
            </p:cNvGrpSpPr>
            <p:nvPr/>
          </p:nvGrpSpPr>
          <p:grpSpPr bwMode="auto">
            <a:xfrm>
              <a:off x="3599" y="2507"/>
              <a:ext cx="191" cy="37"/>
              <a:chOff x="4957" y="1656"/>
              <a:chExt cx="256" cy="42"/>
            </a:xfrm>
          </p:grpSpPr>
          <p:sp>
            <p:nvSpPr>
              <p:cNvPr id="749" name="Oval 696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F1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750" name="Oval 697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F1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91" name="Oval 698"/>
            <p:cNvSpPr>
              <a:spLocks noChangeArrowheads="1"/>
            </p:cNvSpPr>
            <p:nvPr/>
          </p:nvSpPr>
          <p:spPr bwMode="gray">
            <a:xfrm>
              <a:off x="3599" y="2504"/>
              <a:ext cx="190" cy="38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92" name="Group 699"/>
            <p:cNvGrpSpPr>
              <a:grpSpLocks/>
            </p:cNvGrpSpPr>
            <p:nvPr/>
          </p:nvGrpSpPr>
          <p:grpSpPr bwMode="auto">
            <a:xfrm>
              <a:off x="3598" y="2494"/>
              <a:ext cx="191" cy="32"/>
              <a:chOff x="4956" y="1641"/>
              <a:chExt cx="256" cy="36"/>
            </a:xfrm>
          </p:grpSpPr>
          <p:sp>
            <p:nvSpPr>
              <p:cNvPr id="747" name="Oval 700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748" name="Rectangle 701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93" name="Group 702"/>
            <p:cNvGrpSpPr>
              <a:grpSpLocks/>
            </p:cNvGrpSpPr>
            <p:nvPr/>
          </p:nvGrpSpPr>
          <p:grpSpPr bwMode="auto">
            <a:xfrm>
              <a:off x="3598" y="2488"/>
              <a:ext cx="191" cy="31"/>
              <a:chOff x="4956" y="1634"/>
              <a:chExt cx="256" cy="35"/>
            </a:xfrm>
          </p:grpSpPr>
          <p:grpSp>
            <p:nvGrpSpPr>
              <p:cNvPr id="743" name="Group 703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745" name="Oval 704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BFBFDF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46" name="Oval 705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9F9F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44" name="Oval 706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noFill/>
              <a:ln w="3175">
                <a:solidFill>
                  <a:srgbClr val="DFD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94" name="Freeform 707"/>
            <p:cNvSpPr>
              <a:spLocks/>
            </p:cNvSpPr>
            <p:nvPr/>
          </p:nvSpPr>
          <p:spPr bwMode="gray">
            <a:xfrm>
              <a:off x="3617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95" name="Group 708"/>
            <p:cNvGrpSpPr>
              <a:grpSpLocks/>
            </p:cNvGrpSpPr>
            <p:nvPr/>
          </p:nvGrpSpPr>
          <p:grpSpPr bwMode="auto">
            <a:xfrm>
              <a:off x="3675" y="2492"/>
              <a:ext cx="38" cy="27"/>
              <a:chOff x="5059" y="1638"/>
              <a:chExt cx="51" cy="31"/>
            </a:xfrm>
          </p:grpSpPr>
          <p:grpSp>
            <p:nvGrpSpPr>
              <p:cNvPr id="728" name="Group 709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730" name="Group 710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741" name="Oval 711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42" name="Oval 712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31" name="Freeform 713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7F7F9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32" name="Freeform 714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BFBFD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733" name="Group 715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738" name="Oval 716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9F9FBF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39" name="Oval 717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40" name="Oval 718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734" name="Group 719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735" name="Oval 720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9F9FBF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36" name="Oval 721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37" name="Oval 722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729" name="Oval 723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7F7F9F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96" name="Rectangle 724"/>
            <p:cNvSpPr>
              <a:spLocks noChangeArrowheads="1"/>
            </p:cNvSpPr>
            <p:nvPr/>
          </p:nvSpPr>
          <p:spPr bwMode="gray">
            <a:xfrm>
              <a:off x="3591" y="253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7</a:t>
              </a:r>
            </a:p>
          </p:txBody>
        </p:sp>
        <p:grpSp>
          <p:nvGrpSpPr>
            <p:cNvPr id="97" name="Group 727"/>
            <p:cNvGrpSpPr>
              <a:grpSpLocks/>
            </p:cNvGrpSpPr>
            <p:nvPr/>
          </p:nvGrpSpPr>
          <p:grpSpPr bwMode="auto">
            <a:xfrm>
              <a:off x="4383" y="2005"/>
              <a:ext cx="192" cy="328"/>
              <a:chOff x="4956" y="1634"/>
              <a:chExt cx="257" cy="374"/>
            </a:xfrm>
          </p:grpSpPr>
          <p:grpSp>
            <p:nvGrpSpPr>
              <p:cNvPr id="692" name="Group 728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724" name="Group 729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726" name="Oval 730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27" name="Oval 731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25" name="Freeform 732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693" name="Oval 733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694" name="Rectangle 734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95" name="Group 735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722" name="Oval 736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23" name="Oval 737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96" name="Oval 738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97" name="Group 739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720" name="Oval 740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21" name="Rectangle 741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698" name="Group 742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716" name="Group 743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718" name="Oval 744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19" name="Oval 745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17" name="Oval 746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99" name="Freeform 747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700" name="Group 748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701" name="Group 749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703" name="Group 750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714" name="Oval 75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15" name="Oval 75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704" name="Freeform 753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05" name="Freeform 754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706" name="Group 755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711" name="Oval 75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12" name="Oval 75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13" name="Oval 75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707" name="Group 759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708" name="Oval 76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09" name="Oval 76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10" name="Oval 76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702" name="Oval 763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98" name="Rectangle 764"/>
            <p:cNvSpPr>
              <a:spLocks noChangeArrowheads="1"/>
            </p:cNvSpPr>
            <p:nvPr/>
          </p:nvSpPr>
          <p:spPr bwMode="gray">
            <a:xfrm>
              <a:off x="4368" y="2043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99" name="Group 766"/>
            <p:cNvGrpSpPr>
              <a:grpSpLocks/>
            </p:cNvGrpSpPr>
            <p:nvPr/>
          </p:nvGrpSpPr>
          <p:grpSpPr bwMode="auto">
            <a:xfrm>
              <a:off x="2070" y="2005"/>
              <a:ext cx="200" cy="339"/>
              <a:chOff x="2974" y="3217"/>
              <a:chExt cx="162" cy="291"/>
            </a:xfrm>
          </p:grpSpPr>
          <p:grpSp>
            <p:nvGrpSpPr>
              <p:cNvPr id="656" name="Group 767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688" name="Group 768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690" name="Oval 769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91" name="Oval 77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89" name="Freeform 771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657" name="Oval 772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658" name="Rectangle 773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59" name="Group 774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686" name="Oval 775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87" name="Oval 776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60" name="Oval 777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61" name="Group 778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684" name="Oval 779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85" name="Rectangle 780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662" name="Group 781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680" name="Group 782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682" name="Oval 783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83" name="Oval 78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81" name="Oval 785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63" name="Freeform 786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664" name="Group 787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665" name="Group 788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667" name="Group 789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678" name="Oval 79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9" name="Oval 79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668" name="Freeform 792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69" name="Freeform 793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670" name="Group 794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675" name="Oval 79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6" name="Oval 79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7" name="Oval 79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671" name="Group 798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672" name="Oval 79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3" name="Oval 80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4" name="Oval 80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666" name="Oval 802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00" name="Rectangle 803"/>
            <p:cNvSpPr>
              <a:spLocks noChangeArrowheads="1"/>
            </p:cNvSpPr>
            <p:nvPr/>
          </p:nvSpPr>
          <p:spPr bwMode="gray">
            <a:xfrm>
              <a:off x="2064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01" name="Group 805"/>
            <p:cNvGrpSpPr>
              <a:grpSpLocks/>
            </p:cNvGrpSpPr>
            <p:nvPr/>
          </p:nvGrpSpPr>
          <p:grpSpPr bwMode="auto">
            <a:xfrm>
              <a:off x="2341" y="2005"/>
              <a:ext cx="192" cy="328"/>
              <a:chOff x="4956" y="1634"/>
              <a:chExt cx="257" cy="374"/>
            </a:xfrm>
          </p:grpSpPr>
          <p:grpSp>
            <p:nvGrpSpPr>
              <p:cNvPr id="620" name="Group 806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652" name="Group 807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654" name="Oval 808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55" name="Oval 809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53" name="Freeform 810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621" name="Oval 811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622" name="Rectangle 812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23" name="Group 813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650" name="Oval 814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51" name="Oval 815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24" name="Oval 816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25" name="Group 817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648" name="Oval 818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49" name="Rectangle 819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626" name="Group 820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644" name="Group 821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646" name="Oval 822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47" name="Oval 823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45" name="Oval 824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27" name="Freeform 825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628" name="Group 826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629" name="Group 827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631" name="Group 828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642" name="Oval 82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43" name="Oval 83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632" name="Freeform 831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33" name="Freeform 832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634" name="Group 833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639" name="Oval 83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40" name="Oval 83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41" name="Oval 83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635" name="Group 837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636" name="Oval 83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37" name="Oval 83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38" name="Oval 84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630" name="Oval 841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02" name="Rectangle 842"/>
            <p:cNvSpPr>
              <a:spLocks noChangeArrowheads="1"/>
            </p:cNvSpPr>
            <p:nvPr/>
          </p:nvSpPr>
          <p:spPr bwMode="gray">
            <a:xfrm>
              <a:off x="2326" y="2043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103" name="Group 844"/>
            <p:cNvGrpSpPr>
              <a:grpSpLocks/>
            </p:cNvGrpSpPr>
            <p:nvPr/>
          </p:nvGrpSpPr>
          <p:grpSpPr bwMode="auto">
            <a:xfrm>
              <a:off x="2590" y="2005"/>
              <a:ext cx="200" cy="339"/>
              <a:chOff x="2974" y="3217"/>
              <a:chExt cx="162" cy="291"/>
            </a:xfrm>
          </p:grpSpPr>
          <p:grpSp>
            <p:nvGrpSpPr>
              <p:cNvPr id="584" name="Group 845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616" name="Group 846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618" name="Oval 847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19" name="Oval 848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17" name="Freeform 849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585" name="Oval 850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86" name="Rectangle 851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587" name="Group 852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614" name="Oval 853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15" name="Oval 854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88" name="Oval 855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589" name="Group 856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612" name="Oval 857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13" name="Rectangle 858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590" name="Group 859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608" name="Group 860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610" name="Oval 861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11" name="Oval 862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09" name="Oval 863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91" name="Freeform 864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592" name="Group 865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593" name="Group 866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595" name="Group 867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606" name="Oval 86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7" name="Oval 86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596" name="Freeform 870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97" name="Freeform 871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598" name="Group 872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603" name="Oval 87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4" name="Oval 87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5" name="Oval 87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599" name="Group 876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600" name="Oval 87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1" name="Oval 87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2" name="Oval 87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594" name="Oval 880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04" name="Rectangle 881"/>
            <p:cNvSpPr>
              <a:spLocks noChangeArrowheads="1"/>
            </p:cNvSpPr>
            <p:nvPr/>
          </p:nvSpPr>
          <p:spPr bwMode="gray">
            <a:xfrm>
              <a:off x="2584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05" name="Group 883"/>
            <p:cNvGrpSpPr>
              <a:grpSpLocks/>
            </p:cNvGrpSpPr>
            <p:nvPr/>
          </p:nvGrpSpPr>
          <p:grpSpPr bwMode="auto">
            <a:xfrm>
              <a:off x="2852" y="2005"/>
              <a:ext cx="200" cy="339"/>
              <a:chOff x="2974" y="3217"/>
              <a:chExt cx="162" cy="291"/>
            </a:xfrm>
          </p:grpSpPr>
          <p:grpSp>
            <p:nvGrpSpPr>
              <p:cNvPr id="548" name="Group 884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580" name="Group 885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582" name="Oval 886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83" name="Oval 887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81" name="Freeform 888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549" name="Oval 889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50" name="Rectangle 890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551" name="Group 891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578" name="Oval 892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79" name="Oval 893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52" name="Oval 894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553" name="Group 895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576" name="Oval 896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77" name="Rectangle 897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554" name="Group 898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572" name="Group 899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574" name="Oval 900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75" name="Oval 901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73" name="Oval 902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55" name="Freeform 903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556" name="Group 904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557" name="Group 905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559" name="Group 906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570" name="Oval 90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71" name="Oval 90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560" name="Freeform 909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61" name="Freeform 910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562" name="Group 911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567" name="Oval 91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68" name="Oval 91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69" name="Oval 91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563" name="Group 915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564" name="Oval 91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65" name="Oval 91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66" name="Oval 91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558" name="Oval 919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06" name="Rectangle 920"/>
            <p:cNvSpPr>
              <a:spLocks noChangeArrowheads="1"/>
            </p:cNvSpPr>
            <p:nvPr/>
          </p:nvSpPr>
          <p:spPr bwMode="gray">
            <a:xfrm>
              <a:off x="2846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07" name="Group 922"/>
            <p:cNvGrpSpPr>
              <a:grpSpLocks/>
            </p:cNvGrpSpPr>
            <p:nvPr/>
          </p:nvGrpSpPr>
          <p:grpSpPr bwMode="auto">
            <a:xfrm>
              <a:off x="3134" y="2291"/>
              <a:ext cx="192" cy="42"/>
              <a:chOff x="4956" y="1960"/>
              <a:chExt cx="257" cy="48"/>
            </a:xfrm>
          </p:grpSpPr>
          <p:grpSp>
            <p:nvGrpSpPr>
              <p:cNvPr id="544" name="Group 923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546" name="Oval 924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47" name="Oval 925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45" name="Freeform 926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8" name="Oval 927"/>
            <p:cNvSpPr>
              <a:spLocks noChangeArrowheads="1"/>
            </p:cNvSpPr>
            <p:nvPr/>
          </p:nvSpPr>
          <p:spPr bwMode="gray">
            <a:xfrm>
              <a:off x="3135" y="2289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09" name="Rectangle 928"/>
            <p:cNvSpPr>
              <a:spLocks noChangeArrowheads="1"/>
            </p:cNvSpPr>
            <p:nvPr/>
          </p:nvSpPr>
          <p:spPr bwMode="gray">
            <a:xfrm>
              <a:off x="3135" y="2042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10" name="Group 929"/>
            <p:cNvGrpSpPr>
              <a:grpSpLocks/>
            </p:cNvGrpSpPr>
            <p:nvPr/>
          </p:nvGrpSpPr>
          <p:grpSpPr bwMode="auto">
            <a:xfrm>
              <a:off x="3135" y="2024"/>
              <a:ext cx="191" cy="37"/>
              <a:chOff x="4957" y="1656"/>
              <a:chExt cx="256" cy="42"/>
            </a:xfrm>
          </p:grpSpPr>
          <p:sp>
            <p:nvSpPr>
              <p:cNvPr id="542" name="Oval 930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43" name="Oval 931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11" name="Oval 932"/>
            <p:cNvSpPr>
              <a:spLocks noChangeArrowheads="1"/>
            </p:cNvSpPr>
            <p:nvPr/>
          </p:nvSpPr>
          <p:spPr bwMode="gray">
            <a:xfrm>
              <a:off x="3135" y="2021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12" name="Group 933"/>
            <p:cNvGrpSpPr>
              <a:grpSpLocks/>
            </p:cNvGrpSpPr>
            <p:nvPr/>
          </p:nvGrpSpPr>
          <p:grpSpPr bwMode="auto">
            <a:xfrm>
              <a:off x="3134" y="2011"/>
              <a:ext cx="191" cy="32"/>
              <a:chOff x="4956" y="1641"/>
              <a:chExt cx="256" cy="36"/>
            </a:xfrm>
          </p:grpSpPr>
          <p:sp>
            <p:nvSpPr>
              <p:cNvPr id="540" name="Oval 934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41" name="Rectangle 935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13" name="Group 936"/>
            <p:cNvGrpSpPr>
              <a:grpSpLocks/>
            </p:cNvGrpSpPr>
            <p:nvPr/>
          </p:nvGrpSpPr>
          <p:grpSpPr bwMode="auto">
            <a:xfrm>
              <a:off x="3134" y="2005"/>
              <a:ext cx="191" cy="31"/>
              <a:chOff x="4956" y="1634"/>
              <a:chExt cx="256" cy="35"/>
            </a:xfrm>
          </p:grpSpPr>
          <p:grpSp>
            <p:nvGrpSpPr>
              <p:cNvPr id="536" name="Group 937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538" name="Oval 938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39" name="Oval 939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37" name="Oval 940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14" name="Freeform 941"/>
            <p:cNvSpPr>
              <a:spLocks/>
            </p:cNvSpPr>
            <p:nvPr/>
          </p:nvSpPr>
          <p:spPr bwMode="gray">
            <a:xfrm>
              <a:off x="3153" y="2032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5" name="Group 942"/>
            <p:cNvGrpSpPr>
              <a:grpSpLocks/>
            </p:cNvGrpSpPr>
            <p:nvPr/>
          </p:nvGrpSpPr>
          <p:grpSpPr bwMode="auto">
            <a:xfrm>
              <a:off x="3211" y="2009"/>
              <a:ext cx="38" cy="27"/>
              <a:chOff x="5059" y="1638"/>
              <a:chExt cx="51" cy="31"/>
            </a:xfrm>
          </p:grpSpPr>
          <p:grpSp>
            <p:nvGrpSpPr>
              <p:cNvPr id="521" name="Group 943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523" name="Group 944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534" name="Oval 945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35" name="Oval 946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24" name="Freeform 947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5" name="Freeform 948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526" name="Group 949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531" name="Oval 950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32" name="Oval 951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33" name="Oval 952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527" name="Group 953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528" name="Oval 954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29" name="Oval 955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30" name="Oval 956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522" name="Oval 957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16" name="Rectangle 958"/>
            <p:cNvSpPr>
              <a:spLocks noChangeArrowheads="1"/>
            </p:cNvSpPr>
            <p:nvPr/>
          </p:nvSpPr>
          <p:spPr bwMode="gray">
            <a:xfrm>
              <a:off x="3102" y="2053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117" name="Group 960"/>
            <p:cNvGrpSpPr>
              <a:grpSpLocks/>
            </p:cNvGrpSpPr>
            <p:nvPr/>
          </p:nvGrpSpPr>
          <p:grpSpPr bwMode="auto">
            <a:xfrm>
              <a:off x="3374" y="2005"/>
              <a:ext cx="200" cy="339"/>
              <a:chOff x="2974" y="3217"/>
              <a:chExt cx="162" cy="291"/>
            </a:xfrm>
          </p:grpSpPr>
          <p:grpSp>
            <p:nvGrpSpPr>
              <p:cNvPr id="485" name="Group 961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517" name="Group 962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519" name="Oval 963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20" name="Oval 96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18" name="Freeform 965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486" name="Oval 966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487" name="Rectangle 967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488" name="Group 968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515" name="Oval 969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16" name="Oval 970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89" name="Oval 971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490" name="Group 972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513" name="Oval 973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14" name="Rectangle 974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491" name="Group 975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509" name="Group 976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511" name="Oval 977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12" name="Oval 978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10" name="Oval 979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92" name="Freeform 980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493" name="Group 981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494" name="Group 982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496" name="Group 983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507" name="Oval 98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8" name="Oval 98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497" name="Freeform 986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8" name="Freeform 987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499" name="Group 988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504" name="Oval 98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5" name="Oval 99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6" name="Oval 99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500" name="Group 992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501" name="Oval 99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2" name="Oval 99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3" name="Oval 99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495" name="Oval 996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18" name="Rectangle 997"/>
            <p:cNvSpPr>
              <a:spLocks noChangeArrowheads="1"/>
            </p:cNvSpPr>
            <p:nvPr/>
          </p:nvSpPr>
          <p:spPr bwMode="gray">
            <a:xfrm>
              <a:off x="3368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19" name="Group 999"/>
            <p:cNvGrpSpPr>
              <a:grpSpLocks/>
            </p:cNvGrpSpPr>
            <p:nvPr/>
          </p:nvGrpSpPr>
          <p:grpSpPr bwMode="auto">
            <a:xfrm>
              <a:off x="3607" y="2291"/>
              <a:ext cx="192" cy="42"/>
              <a:chOff x="4956" y="1960"/>
              <a:chExt cx="257" cy="48"/>
            </a:xfrm>
          </p:grpSpPr>
          <p:grpSp>
            <p:nvGrpSpPr>
              <p:cNvPr id="481" name="Group 1000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483" name="Oval 1001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5F5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84" name="Oval 1002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5F5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82" name="Freeform 1003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FB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0" name="Oval 1004"/>
            <p:cNvSpPr>
              <a:spLocks noChangeArrowheads="1"/>
            </p:cNvSpPr>
            <p:nvPr/>
          </p:nvSpPr>
          <p:spPr bwMode="gray">
            <a:xfrm>
              <a:off x="3608" y="2289"/>
              <a:ext cx="191" cy="34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1" name="Rectangle 1005"/>
            <p:cNvSpPr>
              <a:spLocks noChangeArrowheads="1"/>
            </p:cNvSpPr>
            <p:nvPr/>
          </p:nvSpPr>
          <p:spPr bwMode="gray">
            <a:xfrm>
              <a:off x="3608" y="2042"/>
              <a:ext cx="191" cy="264"/>
            </a:xfrm>
            <a:prstGeom prst="rect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22" name="Group 1006"/>
            <p:cNvGrpSpPr>
              <a:grpSpLocks/>
            </p:cNvGrpSpPr>
            <p:nvPr/>
          </p:nvGrpSpPr>
          <p:grpSpPr bwMode="auto">
            <a:xfrm>
              <a:off x="3608" y="2024"/>
              <a:ext cx="191" cy="37"/>
              <a:chOff x="4957" y="1656"/>
              <a:chExt cx="256" cy="42"/>
            </a:xfrm>
          </p:grpSpPr>
          <p:sp>
            <p:nvSpPr>
              <p:cNvPr id="479" name="Oval 1007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F1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480" name="Oval 1008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F1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23" name="Oval 1009"/>
            <p:cNvSpPr>
              <a:spLocks noChangeArrowheads="1"/>
            </p:cNvSpPr>
            <p:nvPr/>
          </p:nvSpPr>
          <p:spPr bwMode="gray">
            <a:xfrm>
              <a:off x="3608" y="2021"/>
              <a:ext cx="190" cy="38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24" name="Group 1010"/>
            <p:cNvGrpSpPr>
              <a:grpSpLocks/>
            </p:cNvGrpSpPr>
            <p:nvPr/>
          </p:nvGrpSpPr>
          <p:grpSpPr bwMode="auto">
            <a:xfrm>
              <a:off x="3607" y="2011"/>
              <a:ext cx="191" cy="32"/>
              <a:chOff x="4956" y="1641"/>
              <a:chExt cx="256" cy="36"/>
            </a:xfrm>
          </p:grpSpPr>
          <p:sp>
            <p:nvSpPr>
              <p:cNvPr id="477" name="Oval 1011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478" name="Rectangle 1012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25" name="Group 1013"/>
            <p:cNvGrpSpPr>
              <a:grpSpLocks/>
            </p:cNvGrpSpPr>
            <p:nvPr/>
          </p:nvGrpSpPr>
          <p:grpSpPr bwMode="auto">
            <a:xfrm>
              <a:off x="3607" y="2005"/>
              <a:ext cx="191" cy="31"/>
              <a:chOff x="4956" y="1634"/>
              <a:chExt cx="256" cy="35"/>
            </a:xfrm>
          </p:grpSpPr>
          <p:grpSp>
            <p:nvGrpSpPr>
              <p:cNvPr id="473" name="Group 1014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475" name="Oval 1015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BFBFDF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76" name="Oval 1016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9F9F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74" name="Oval 1017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noFill/>
              <a:ln w="3175">
                <a:solidFill>
                  <a:srgbClr val="DFD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26" name="Freeform 1018"/>
            <p:cNvSpPr>
              <a:spLocks/>
            </p:cNvSpPr>
            <p:nvPr/>
          </p:nvSpPr>
          <p:spPr bwMode="gray">
            <a:xfrm>
              <a:off x="3626" y="2032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27" name="Group 1019"/>
            <p:cNvGrpSpPr>
              <a:grpSpLocks/>
            </p:cNvGrpSpPr>
            <p:nvPr/>
          </p:nvGrpSpPr>
          <p:grpSpPr bwMode="auto">
            <a:xfrm>
              <a:off x="3684" y="2009"/>
              <a:ext cx="38" cy="27"/>
              <a:chOff x="5059" y="1638"/>
              <a:chExt cx="51" cy="31"/>
            </a:xfrm>
          </p:grpSpPr>
          <p:grpSp>
            <p:nvGrpSpPr>
              <p:cNvPr id="458" name="Group 1020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460" name="Group 1021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471" name="Oval 1022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72" name="Oval 1023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61" name="Freeform 1024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7F7F9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62" name="Freeform 1025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BFBFD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463" name="Group 1026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468" name="Oval 1027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9F9FBF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69" name="Oval 1028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70" name="Oval 1029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464" name="Group 1030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465" name="Oval 1031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9F9FBF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66" name="Oval 1032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67" name="Oval 1033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459" name="Oval 1034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7F7F9F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28" name="Rectangle 1035"/>
            <p:cNvSpPr>
              <a:spLocks noChangeArrowheads="1"/>
            </p:cNvSpPr>
            <p:nvPr/>
          </p:nvSpPr>
          <p:spPr bwMode="gray">
            <a:xfrm>
              <a:off x="3600" y="2053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7</a:t>
              </a:r>
            </a:p>
          </p:txBody>
        </p:sp>
        <p:grpSp>
          <p:nvGrpSpPr>
            <p:cNvPr id="129" name="Group 1037"/>
            <p:cNvGrpSpPr>
              <a:grpSpLocks/>
            </p:cNvGrpSpPr>
            <p:nvPr/>
          </p:nvGrpSpPr>
          <p:grpSpPr bwMode="auto">
            <a:xfrm>
              <a:off x="4134" y="2005"/>
              <a:ext cx="200" cy="339"/>
              <a:chOff x="2974" y="3217"/>
              <a:chExt cx="162" cy="291"/>
            </a:xfrm>
          </p:grpSpPr>
          <p:grpSp>
            <p:nvGrpSpPr>
              <p:cNvPr id="422" name="Group 1038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454" name="Group 1039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456" name="Oval 104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57" name="Oval 1041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55" name="Freeform 1042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423" name="Oval 1043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424" name="Rectangle 1044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425" name="Group 1045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452" name="Oval 1046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53" name="Oval 1047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26" name="Oval 1048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427" name="Group 1049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450" name="Oval 1050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51" name="Rectangle 1051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428" name="Group 1052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446" name="Group 1053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448" name="Oval 1054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49" name="Oval 1055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47" name="Oval 1056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29" name="Freeform 1057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430" name="Group 1058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431" name="Group 1059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433" name="Group 1060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444" name="Oval 106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45" name="Oval 106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434" name="Freeform 1063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35" name="Freeform 1064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436" name="Group 1065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441" name="Oval 106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42" name="Oval 106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43" name="Oval 106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437" name="Group 1069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438" name="Oval 107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39" name="Oval 107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40" name="Oval 107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432" name="Oval 1073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30" name="Rectangle 1074"/>
            <p:cNvSpPr>
              <a:spLocks noChangeArrowheads="1"/>
            </p:cNvSpPr>
            <p:nvPr/>
          </p:nvSpPr>
          <p:spPr bwMode="gray">
            <a:xfrm>
              <a:off x="4128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31" name="Group 1076"/>
            <p:cNvGrpSpPr>
              <a:grpSpLocks/>
            </p:cNvGrpSpPr>
            <p:nvPr/>
          </p:nvGrpSpPr>
          <p:grpSpPr bwMode="auto">
            <a:xfrm>
              <a:off x="3846" y="2005"/>
              <a:ext cx="200" cy="339"/>
              <a:chOff x="2974" y="3217"/>
              <a:chExt cx="162" cy="291"/>
            </a:xfrm>
          </p:grpSpPr>
          <p:grpSp>
            <p:nvGrpSpPr>
              <p:cNvPr id="386" name="Group 1077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418" name="Group 1078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420" name="Oval 1079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21" name="Oval 108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19" name="Freeform 1081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387" name="Oval 1082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88" name="Rectangle 1083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389" name="Group 1084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416" name="Oval 1085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17" name="Oval 1086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90" name="Oval 1087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391" name="Group 1088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414" name="Oval 1089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15" name="Rectangle 1090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392" name="Group 1091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410" name="Group 1092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412" name="Oval 1093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13" name="Oval 109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11" name="Oval 1095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93" name="Freeform 1096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94" name="Group 1097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395" name="Group 1098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397" name="Group 1099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408" name="Oval 110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9" name="Oval 110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398" name="Freeform 1102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99" name="Freeform 1103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400" name="Group 1104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405" name="Oval 110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6" name="Oval 110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7" name="Oval 110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401" name="Group 1108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402" name="Oval 110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3" name="Oval 111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4" name="Oval 111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396" name="Oval 1112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32" name="Rectangle 1113"/>
            <p:cNvSpPr>
              <a:spLocks noChangeArrowheads="1"/>
            </p:cNvSpPr>
            <p:nvPr/>
          </p:nvSpPr>
          <p:spPr bwMode="gray">
            <a:xfrm>
              <a:off x="3840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33" name="Group 1115"/>
            <p:cNvGrpSpPr>
              <a:grpSpLocks/>
            </p:cNvGrpSpPr>
            <p:nvPr/>
          </p:nvGrpSpPr>
          <p:grpSpPr bwMode="auto">
            <a:xfrm>
              <a:off x="4671" y="2005"/>
              <a:ext cx="192" cy="328"/>
              <a:chOff x="4956" y="1634"/>
              <a:chExt cx="257" cy="374"/>
            </a:xfrm>
          </p:grpSpPr>
          <p:grpSp>
            <p:nvGrpSpPr>
              <p:cNvPr id="350" name="Group 1116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382" name="Group 1117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384" name="Oval 1118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85" name="Oval 1119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383" name="Freeform 1120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351" name="Oval 1121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52" name="Rectangle 1122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353" name="Group 1123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380" name="Oval 1124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81" name="Oval 1125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54" name="Oval 1126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355" name="Group 1127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378" name="Oval 1128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79" name="Rectangle 1129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356" name="Group 1130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374" name="Group 1131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376" name="Oval 1132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77" name="Oval 1133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375" name="Oval 1134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57" name="Freeform 1135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58" name="Group 1136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359" name="Group 1137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361" name="Group 1138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372" name="Oval 113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73" name="Oval 114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362" name="Freeform 1141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63" name="Freeform 1142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364" name="Group 1143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369" name="Oval 114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70" name="Oval 114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71" name="Oval 114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365" name="Group 1147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366" name="Oval 114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67" name="Oval 114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68" name="Oval 115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360" name="Oval 1151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34" name="Rectangle 1152"/>
            <p:cNvSpPr>
              <a:spLocks noChangeArrowheads="1"/>
            </p:cNvSpPr>
            <p:nvPr/>
          </p:nvSpPr>
          <p:spPr bwMode="gray">
            <a:xfrm>
              <a:off x="4656" y="2043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135" name="Group 1156"/>
            <p:cNvGrpSpPr>
              <a:grpSpLocks/>
            </p:cNvGrpSpPr>
            <p:nvPr/>
          </p:nvGrpSpPr>
          <p:grpSpPr bwMode="auto">
            <a:xfrm>
              <a:off x="3392" y="1829"/>
              <a:ext cx="192" cy="42"/>
              <a:chOff x="4956" y="1960"/>
              <a:chExt cx="257" cy="48"/>
            </a:xfrm>
          </p:grpSpPr>
          <p:sp>
            <p:nvSpPr>
              <p:cNvPr id="348" name="Oval 1157"/>
              <p:cNvSpPr>
                <a:spLocks noChangeArrowheads="1"/>
              </p:cNvSpPr>
              <p:nvPr/>
            </p:nvSpPr>
            <p:spPr bwMode="gray">
              <a:xfrm>
                <a:off x="4956" y="1960"/>
                <a:ext cx="257" cy="48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49" name="Oval 1158"/>
              <p:cNvSpPr>
                <a:spLocks noChangeArrowheads="1"/>
              </p:cNvSpPr>
              <p:nvPr/>
            </p:nvSpPr>
            <p:spPr bwMode="gray">
              <a:xfrm>
                <a:off x="4957" y="1961"/>
                <a:ext cx="256" cy="40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36" name="Freeform 1159"/>
            <p:cNvSpPr>
              <a:spLocks/>
            </p:cNvSpPr>
            <p:nvPr/>
          </p:nvSpPr>
          <p:spPr bwMode="gray">
            <a:xfrm>
              <a:off x="3411" y="1857"/>
              <a:ext cx="21" cy="7"/>
            </a:xfrm>
            <a:custGeom>
              <a:avLst/>
              <a:gdLst>
                <a:gd name="T0" fmla="*/ 0 w 114"/>
                <a:gd name="T1" fmla="*/ 0 h 45"/>
                <a:gd name="T2" fmla="*/ 1 w 114"/>
                <a:gd name="T3" fmla="*/ 0 h 45"/>
                <a:gd name="T4" fmla="*/ 2 w 114"/>
                <a:gd name="T5" fmla="*/ 0 h 45"/>
                <a:gd name="T6" fmla="*/ 4 w 114"/>
                <a:gd name="T7" fmla="*/ 1 h 45"/>
                <a:gd name="T8" fmla="*/ 4 w 114"/>
                <a:gd name="T9" fmla="*/ 1 h 45"/>
                <a:gd name="T10" fmla="*/ 3 w 114"/>
                <a:gd name="T11" fmla="*/ 1 h 45"/>
                <a:gd name="T12" fmla="*/ 2 w 114"/>
                <a:gd name="T13" fmla="*/ 1 h 45"/>
                <a:gd name="T14" fmla="*/ 0 w 114"/>
                <a:gd name="T15" fmla="*/ 0 h 45"/>
                <a:gd name="T16" fmla="*/ 0 w 114"/>
                <a:gd name="T17" fmla="*/ 0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"/>
                <a:gd name="T28" fmla="*/ 0 h 45"/>
                <a:gd name="T29" fmla="*/ 114 w 114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" h="45">
                  <a:moveTo>
                    <a:pt x="0" y="0"/>
                  </a:moveTo>
                  <a:lnTo>
                    <a:pt x="33" y="9"/>
                  </a:lnTo>
                  <a:lnTo>
                    <a:pt x="71" y="17"/>
                  </a:lnTo>
                  <a:lnTo>
                    <a:pt x="112" y="26"/>
                  </a:lnTo>
                  <a:lnTo>
                    <a:pt x="114" y="45"/>
                  </a:lnTo>
                  <a:lnTo>
                    <a:pt x="85" y="39"/>
                  </a:lnTo>
                  <a:lnTo>
                    <a:pt x="47" y="29"/>
                  </a:lnTo>
                  <a:lnTo>
                    <a:pt x="3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Oval 1160"/>
            <p:cNvSpPr>
              <a:spLocks noChangeArrowheads="1"/>
            </p:cNvSpPr>
            <p:nvPr/>
          </p:nvSpPr>
          <p:spPr bwMode="gray">
            <a:xfrm>
              <a:off x="3393" y="1827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8" name="Rectangle 1161"/>
            <p:cNvSpPr>
              <a:spLocks noChangeArrowheads="1"/>
            </p:cNvSpPr>
            <p:nvPr/>
          </p:nvSpPr>
          <p:spPr bwMode="gray">
            <a:xfrm>
              <a:off x="3393" y="1580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9" name="Oval 1163"/>
            <p:cNvSpPr>
              <a:spLocks noChangeArrowheads="1"/>
            </p:cNvSpPr>
            <p:nvPr/>
          </p:nvSpPr>
          <p:spPr bwMode="gray">
            <a:xfrm>
              <a:off x="3393" y="1565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0" name="Oval 1164"/>
            <p:cNvSpPr>
              <a:spLocks noChangeArrowheads="1"/>
            </p:cNvSpPr>
            <p:nvPr/>
          </p:nvSpPr>
          <p:spPr bwMode="gray">
            <a:xfrm>
              <a:off x="3393" y="156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1" name="Oval 1165"/>
            <p:cNvSpPr>
              <a:spLocks noChangeArrowheads="1"/>
            </p:cNvSpPr>
            <p:nvPr/>
          </p:nvSpPr>
          <p:spPr bwMode="gray">
            <a:xfrm>
              <a:off x="3393" y="1559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2" name="Oval 1167"/>
            <p:cNvSpPr>
              <a:spLocks noChangeArrowheads="1"/>
            </p:cNvSpPr>
            <p:nvPr/>
          </p:nvSpPr>
          <p:spPr bwMode="gray">
            <a:xfrm>
              <a:off x="3392" y="1549"/>
              <a:ext cx="191" cy="32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3" name="Rectangle 1168"/>
            <p:cNvSpPr>
              <a:spLocks noChangeArrowheads="1"/>
            </p:cNvSpPr>
            <p:nvPr/>
          </p:nvSpPr>
          <p:spPr bwMode="gray">
            <a:xfrm>
              <a:off x="3392" y="1557"/>
              <a:ext cx="191" cy="8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44" name="Group 1170"/>
            <p:cNvGrpSpPr>
              <a:grpSpLocks/>
            </p:cNvGrpSpPr>
            <p:nvPr/>
          </p:nvGrpSpPr>
          <p:grpSpPr bwMode="auto">
            <a:xfrm>
              <a:off x="3392" y="1543"/>
              <a:ext cx="191" cy="31"/>
              <a:chOff x="4956" y="1634"/>
              <a:chExt cx="256" cy="35"/>
            </a:xfrm>
          </p:grpSpPr>
          <p:sp>
            <p:nvSpPr>
              <p:cNvPr id="346" name="Oval 1171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47" name="Oval 1172"/>
              <p:cNvSpPr>
                <a:spLocks noChangeArrowheads="1"/>
              </p:cNvSpPr>
              <p:nvPr/>
            </p:nvSpPr>
            <p:spPr bwMode="gray">
              <a:xfrm>
                <a:off x="4956" y="1637"/>
                <a:ext cx="256" cy="32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5" name="Oval 1173"/>
            <p:cNvSpPr>
              <a:spLocks noChangeArrowheads="1"/>
            </p:cNvSpPr>
            <p:nvPr/>
          </p:nvSpPr>
          <p:spPr bwMode="gray">
            <a:xfrm>
              <a:off x="3392" y="1543"/>
              <a:ext cx="190" cy="31"/>
            </a:xfrm>
            <a:prstGeom prst="ellipse">
              <a:avLst/>
            </a:prstGeom>
            <a:solidFill>
              <a:srgbClr val="F9AE00"/>
            </a:solidFill>
            <a:ln w="3175">
              <a:solidFill>
                <a:srgbClr val="DFDFF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6" name="Freeform 1174"/>
            <p:cNvSpPr>
              <a:spLocks/>
            </p:cNvSpPr>
            <p:nvPr/>
          </p:nvSpPr>
          <p:spPr bwMode="gray">
            <a:xfrm>
              <a:off x="3411" y="1570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7" name="Group 1176"/>
            <p:cNvGrpSpPr>
              <a:grpSpLocks/>
            </p:cNvGrpSpPr>
            <p:nvPr/>
          </p:nvGrpSpPr>
          <p:grpSpPr bwMode="auto">
            <a:xfrm>
              <a:off x="3469" y="1547"/>
              <a:ext cx="38" cy="27"/>
              <a:chOff x="5059" y="1638"/>
              <a:chExt cx="51" cy="31"/>
            </a:xfrm>
          </p:grpSpPr>
          <p:grpSp>
            <p:nvGrpSpPr>
              <p:cNvPr id="333" name="Group 1177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15"/>
                <a:chOff x="5059" y="1638"/>
                <a:chExt cx="51" cy="15"/>
              </a:xfrm>
            </p:grpSpPr>
            <p:sp>
              <p:nvSpPr>
                <p:cNvPr id="344" name="Oval 1178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45" name="Oval 1179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4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34" name="Freeform 1180"/>
              <p:cNvSpPr>
                <a:spLocks/>
              </p:cNvSpPr>
              <p:nvPr/>
            </p:nvSpPr>
            <p:spPr bwMode="gray">
              <a:xfrm>
                <a:off x="5064" y="1650"/>
                <a:ext cx="43" cy="19"/>
              </a:xfrm>
              <a:custGeom>
                <a:avLst/>
                <a:gdLst>
                  <a:gd name="T0" fmla="*/ 1 w 172"/>
                  <a:gd name="T1" fmla="*/ 0 h 111"/>
                  <a:gd name="T2" fmla="*/ 0 w 172"/>
                  <a:gd name="T3" fmla="*/ 3 h 111"/>
                  <a:gd name="T4" fmla="*/ 3 w 172"/>
                  <a:gd name="T5" fmla="*/ 3 h 111"/>
                  <a:gd name="T6" fmla="*/ 8 w 172"/>
                  <a:gd name="T7" fmla="*/ 3 h 111"/>
                  <a:gd name="T8" fmla="*/ 11 w 172"/>
                  <a:gd name="T9" fmla="*/ 3 h 111"/>
                  <a:gd name="T10" fmla="*/ 9 w 172"/>
                  <a:gd name="T11" fmla="*/ 0 h 111"/>
                  <a:gd name="T12" fmla="*/ 1 w 172"/>
                  <a:gd name="T13" fmla="*/ 0 h 1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2"/>
                  <a:gd name="T22" fmla="*/ 0 h 111"/>
                  <a:gd name="T23" fmla="*/ 172 w 172"/>
                  <a:gd name="T24" fmla="*/ 111 h 1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2" h="111">
                    <a:moveTo>
                      <a:pt x="20" y="1"/>
                    </a:moveTo>
                    <a:lnTo>
                      <a:pt x="0" y="92"/>
                    </a:lnTo>
                    <a:lnTo>
                      <a:pt x="46" y="111"/>
                    </a:lnTo>
                    <a:lnTo>
                      <a:pt x="131" y="111"/>
                    </a:lnTo>
                    <a:lnTo>
                      <a:pt x="172" y="89"/>
                    </a:lnTo>
                    <a:lnTo>
                      <a:pt x="149" y="0"/>
                    </a:lnTo>
                    <a:lnTo>
                      <a:pt x="20" y="1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5" name="Freeform 1181"/>
              <p:cNvSpPr>
                <a:spLocks/>
              </p:cNvSpPr>
              <p:nvPr/>
            </p:nvSpPr>
            <p:spPr bwMode="gray">
              <a:xfrm>
                <a:off x="5064" y="1650"/>
                <a:ext cx="43" cy="18"/>
              </a:xfrm>
              <a:custGeom>
                <a:avLst/>
                <a:gdLst>
                  <a:gd name="T0" fmla="*/ 1 w 170"/>
                  <a:gd name="T1" fmla="*/ 0 h 106"/>
                  <a:gd name="T2" fmla="*/ 0 w 170"/>
                  <a:gd name="T3" fmla="*/ 3 h 106"/>
                  <a:gd name="T4" fmla="*/ 3 w 170"/>
                  <a:gd name="T5" fmla="*/ 3 h 106"/>
                  <a:gd name="T6" fmla="*/ 8 w 170"/>
                  <a:gd name="T7" fmla="*/ 3 h 106"/>
                  <a:gd name="T8" fmla="*/ 11 w 170"/>
                  <a:gd name="T9" fmla="*/ 2 h 106"/>
                  <a:gd name="T10" fmla="*/ 9 w 170"/>
                  <a:gd name="T11" fmla="*/ 0 h 106"/>
                  <a:gd name="T12" fmla="*/ 1 w 170"/>
                  <a:gd name="T13" fmla="*/ 0 h 10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0"/>
                  <a:gd name="T22" fmla="*/ 0 h 106"/>
                  <a:gd name="T23" fmla="*/ 170 w 170"/>
                  <a:gd name="T24" fmla="*/ 106 h 10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0" h="106">
                    <a:moveTo>
                      <a:pt x="17" y="0"/>
                    </a:moveTo>
                    <a:lnTo>
                      <a:pt x="0" y="87"/>
                    </a:lnTo>
                    <a:lnTo>
                      <a:pt x="48" y="106"/>
                    </a:lnTo>
                    <a:lnTo>
                      <a:pt x="128" y="106"/>
                    </a:lnTo>
                    <a:lnTo>
                      <a:pt x="170" y="85"/>
                    </a:lnTo>
                    <a:lnTo>
                      <a:pt x="145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36" name="Group 1182"/>
              <p:cNvGrpSpPr>
                <a:grpSpLocks/>
              </p:cNvGrpSpPr>
              <p:nvPr/>
            </p:nvGrpSpPr>
            <p:grpSpPr bwMode="auto">
              <a:xfrm>
                <a:off x="5069" y="1650"/>
                <a:ext cx="31" cy="8"/>
                <a:chOff x="5069" y="1650"/>
                <a:chExt cx="31" cy="8"/>
              </a:xfrm>
            </p:grpSpPr>
            <p:sp>
              <p:nvSpPr>
                <p:cNvPr id="341" name="Oval 1183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0" cy="8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42" name="Oval 1184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8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43" name="Oval 1185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7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337" name="Group 1186"/>
              <p:cNvGrpSpPr>
                <a:grpSpLocks/>
              </p:cNvGrpSpPr>
              <p:nvPr/>
            </p:nvGrpSpPr>
            <p:grpSpPr bwMode="auto">
              <a:xfrm>
                <a:off x="5064" y="1658"/>
                <a:ext cx="41" cy="10"/>
                <a:chOff x="5064" y="1658"/>
                <a:chExt cx="41" cy="10"/>
              </a:xfrm>
            </p:grpSpPr>
            <p:sp>
              <p:nvSpPr>
                <p:cNvPr id="338" name="Oval 1187"/>
                <p:cNvSpPr>
                  <a:spLocks noChangeArrowheads="1"/>
                </p:cNvSpPr>
                <p:nvPr/>
              </p:nvSpPr>
              <p:spPr bwMode="gray">
                <a:xfrm>
                  <a:off x="5064" y="1659"/>
                  <a:ext cx="40" cy="9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39" name="Oval 1188"/>
                <p:cNvSpPr>
                  <a:spLocks noChangeArrowheads="1"/>
                </p:cNvSpPr>
                <p:nvPr/>
              </p:nvSpPr>
              <p:spPr bwMode="gray">
                <a:xfrm>
                  <a:off x="5066" y="1659"/>
                  <a:ext cx="39" cy="9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40" name="Oval 1189"/>
                <p:cNvSpPr>
                  <a:spLocks noChangeArrowheads="1"/>
                </p:cNvSpPr>
                <p:nvPr/>
              </p:nvSpPr>
              <p:spPr bwMode="gray">
                <a:xfrm>
                  <a:off x="5066" y="1658"/>
                  <a:ext cx="39" cy="10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48" name="Oval 1190"/>
            <p:cNvSpPr>
              <a:spLocks noChangeArrowheads="1"/>
            </p:cNvSpPr>
            <p:nvPr/>
          </p:nvSpPr>
          <p:spPr bwMode="gray">
            <a:xfrm>
              <a:off x="3483" y="1559"/>
              <a:ext cx="10" cy="3"/>
            </a:xfrm>
            <a:prstGeom prst="ellipse">
              <a:avLst/>
            </a:prstGeom>
            <a:solidFill>
              <a:srgbClr val="F9AE00"/>
            </a:solidFill>
            <a:ln w="3175">
              <a:solidFill>
                <a:srgbClr val="BFBFD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9" name="Rectangle 1191"/>
            <p:cNvSpPr>
              <a:spLocks noChangeArrowheads="1"/>
            </p:cNvSpPr>
            <p:nvPr/>
          </p:nvSpPr>
          <p:spPr bwMode="gray">
            <a:xfrm>
              <a:off x="3360" y="1591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150" name="Group 1194"/>
            <p:cNvGrpSpPr>
              <a:grpSpLocks/>
            </p:cNvGrpSpPr>
            <p:nvPr/>
          </p:nvGrpSpPr>
          <p:grpSpPr bwMode="auto">
            <a:xfrm>
              <a:off x="2333" y="1829"/>
              <a:ext cx="192" cy="42"/>
              <a:chOff x="4956" y="1960"/>
              <a:chExt cx="257" cy="48"/>
            </a:xfrm>
          </p:grpSpPr>
          <p:sp>
            <p:nvSpPr>
              <p:cNvPr id="331" name="Oval 1195"/>
              <p:cNvSpPr>
                <a:spLocks noChangeArrowheads="1"/>
              </p:cNvSpPr>
              <p:nvPr/>
            </p:nvSpPr>
            <p:spPr bwMode="gray">
              <a:xfrm>
                <a:off x="4956" y="1960"/>
                <a:ext cx="257" cy="48"/>
              </a:xfrm>
              <a:prstGeom prst="ellipse">
                <a:avLst/>
              </a:prstGeom>
              <a:solidFill>
                <a:srgbClr val="5F5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32" name="Oval 1196"/>
              <p:cNvSpPr>
                <a:spLocks noChangeArrowheads="1"/>
              </p:cNvSpPr>
              <p:nvPr/>
            </p:nvSpPr>
            <p:spPr bwMode="gray">
              <a:xfrm>
                <a:off x="4957" y="1961"/>
                <a:ext cx="256" cy="40"/>
              </a:xfrm>
              <a:prstGeom prst="ellipse">
                <a:avLst/>
              </a:prstGeom>
              <a:solidFill>
                <a:srgbClr val="5F5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51" name="Freeform 1197"/>
            <p:cNvSpPr>
              <a:spLocks/>
            </p:cNvSpPr>
            <p:nvPr/>
          </p:nvSpPr>
          <p:spPr bwMode="gray">
            <a:xfrm>
              <a:off x="2352" y="1857"/>
              <a:ext cx="21" cy="7"/>
            </a:xfrm>
            <a:custGeom>
              <a:avLst/>
              <a:gdLst>
                <a:gd name="T0" fmla="*/ 0 w 114"/>
                <a:gd name="T1" fmla="*/ 0 h 45"/>
                <a:gd name="T2" fmla="*/ 1 w 114"/>
                <a:gd name="T3" fmla="*/ 0 h 45"/>
                <a:gd name="T4" fmla="*/ 2 w 114"/>
                <a:gd name="T5" fmla="*/ 0 h 45"/>
                <a:gd name="T6" fmla="*/ 4 w 114"/>
                <a:gd name="T7" fmla="*/ 1 h 45"/>
                <a:gd name="T8" fmla="*/ 4 w 114"/>
                <a:gd name="T9" fmla="*/ 1 h 45"/>
                <a:gd name="T10" fmla="*/ 3 w 114"/>
                <a:gd name="T11" fmla="*/ 1 h 45"/>
                <a:gd name="T12" fmla="*/ 2 w 114"/>
                <a:gd name="T13" fmla="*/ 1 h 45"/>
                <a:gd name="T14" fmla="*/ 0 w 114"/>
                <a:gd name="T15" fmla="*/ 0 h 45"/>
                <a:gd name="T16" fmla="*/ 0 w 114"/>
                <a:gd name="T17" fmla="*/ 0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"/>
                <a:gd name="T28" fmla="*/ 0 h 45"/>
                <a:gd name="T29" fmla="*/ 114 w 114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" h="45">
                  <a:moveTo>
                    <a:pt x="0" y="0"/>
                  </a:moveTo>
                  <a:lnTo>
                    <a:pt x="33" y="9"/>
                  </a:lnTo>
                  <a:lnTo>
                    <a:pt x="71" y="17"/>
                  </a:lnTo>
                  <a:lnTo>
                    <a:pt x="112" y="26"/>
                  </a:lnTo>
                  <a:lnTo>
                    <a:pt x="114" y="45"/>
                  </a:lnTo>
                  <a:lnTo>
                    <a:pt x="85" y="39"/>
                  </a:lnTo>
                  <a:lnTo>
                    <a:pt x="47" y="29"/>
                  </a:lnTo>
                  <a:lnTo>
                    <a:pt x="3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Oval 1198"/>
            <p:cNvSpPr>
              <a:spLocks noChangeArrowheads="1"/>
            </p:cNvSpPr>
            <p:nvPr/>
          </p:nvSpPr>
          <p:spPr bwMode="gray">
            <a:xfrm>
              <a:off x="2334" y="1827"/>
              <a:ext cx="191" cy="34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3" name="Rectangle 1199"/>
            <p:cNvSpPr>
              <a:spLocks noChangeArrowheads="1"/>
            </p:cNvSpPr>
            <p:nvPr/>
          </p:nvSpPr>
          <p:spPr bwMode="gray">
            <a:xfrm>
              <a:off x="2334" y="1580"/>
              <a:ext cx="191" cy="264"/>
            </a:xfrm>
            <a:prstGeom prst="rect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" name="Oval 1201"/>
            <p:cNvSpPr>
              <a:spLocks noChangeArrowheads="1"/>
            </p:cNvSpPr>
            <p:nvPr/>
          </p:nvSpPr>
          <p:spPr bwMode="gray">
            <a:xfrm>
              <a:off x="2334" y="1565"/>
              <a:ext cx="191" cy="34"/>
            </a:xfrm>
            <a:prstGeom prst="ellipse">
              <a:avLst/>
            </a:prstGeom>
            <a:solidFill>
              <a:srgbClr val="FF1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5" name="Oval 1202"/>
            <p:cNvSpPr>
              <a:spLocks noChangeArrowheads="1"/>
            </p:cNvSpPr>
            <p:nvPr/>
          </p:nvSpPr>
          <p:spPr bwMode="gray">
            <a:xfrm>
              <a:off x="2334" y="1562"/>
              <a:ext cx="191" cy="34"/>
            </a:xfrm>
            <a:prstGeom prst="ellipse">
              <a:avLst/>
            </a:prstGeom>
            <a:solidFill>
              <a:srgbClr val="FF1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6" name="Oval 1203"/>
            <p:cNvSpPr>
              <a:spLocks noChangeArrowheads="1"/>
            </p:cNvSpPr>
            <p:nvPr/>
          </p:nvSpPr>
          <p:spPr bwMode="gray">
            <a:xfrm>
              <a:off x="2334" y="1559"/>
              <a:ext cx="190" cy="38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7" name="Oval 1205"/>
            <p:cNvSpPr>
              <a:spLocks noChangeArrowheads="1"/>
            </p:cNvSpPr>
            <p:nvPr/>
          </p:nvSpPr>
          <p:spPr bwMode="gray">
            <a:xfrm>
              <a:off x="2333" y="1549"/>
              <a:ext cx="191" cy="32"/>
            </a:xfrm>
            <a:prstGeom prst="ellipse">
              <a:avLst/>
            </a:prstGeom>
            <a:solidFill>
              <a:srgbClr val="7F7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8" name="Rectangle 1206"/>
            <p:cNvSpPr>
              <a:spLocks noChangeArrowheads="1"/>
            </p:cNvSpPr>
            <p:nvPr/>
          </p:nvSpPr>
          <p:spPr bwMode="gray">
            <a:xfrm>
              <a:off x="2333" y="1557"/>
              <a:ext cx="191" cy="8"/>
            </a:xfrm>
            <a:prstGeom prst="rect">
              <a:avLst/>
            </a:prstGeom>
            <a:solidFill>
              <a:srgbClr val="7F7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59" name="Group 1208"/>
            <p:cNvGrpSpPr>
              <a:grpSpLocks/>
            </p:cNvGrpSpPr>
            <p:nvPr/>
          </p:nvGrpSpPr>
          <p:grpSpPr bwMode="auto">
            <a:xfrm>
              <a:off x="2333" y="1543"/>
              <a:ext cx="191" cy="31"/>
              <a:chOff x="4956" y="1634"/>
              <a:chExt cx="256" cy="35"/>
            </a:xfrm>
          </p:grpSpPr>
          <p:sp>
            <p:nvSpPr>
              <p:cNvPr id="329" name="Oval 1209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BFBFDF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30" name="Oval 1210"/>
              <p:cNvSpPr>
                <a:spLocks noChangeArrowheads="1"/>
              </p:cNvSpPr>
              <p:nvPr/>
            </p:nvSpPr>
            <p:spPr bwMode="gray">
              <a:xfrm>
                <a:off x="4956" y="1637"/>
                <a:ext cx="256" cy="32"/>
              </a:xfrm>
              <a:prstGeom prst="ellipse">
                <a:avLst/>
              </a:prstGeom>
              <a:solidFill>
                <a:srgbClr val="9F9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60" name="Oval 1211"/>
            <p:cNvSpPr>
              <a:spLocks noChangeArrowheads="1"/>
            </p:cNvSpPr>
            <p:nvPr/>
          </p:nvSpPr>
          <p:spPr bwMode="gray">
            <a:xfrm>
              <a:off x="2333" y="1543"/>
              <a:ext cx="190" cy="31"/>
            </a:xfrm>
            <a:prstGeom prst="ellipse">
              <a:avLst/>
            </a:prstGeom>
            <a:noFill/>
            <a:ln w="3175">
              <a:solidFill>
                <a:srgbClr val="DFD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1" name="Freeform 1212"/>
            <p:cNvSpPr>
              <a:spLocks/>
            </p:cNvSpPr>
            <p:nvPr/>
          </p:nvSpPr>
          <p:spPr bwMode="gray">
            <a:xfrm>
              <a:off x="2352" y="1570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2" name="Group 1214"/>
            <p:cNvGrpSpPr>
              <a:grpSpLocks/>
            </p:cNvGrpSpPr>
            <p:nvPr/>
          </p:nvGrpSpPr>
          <p:grpSpPr bwMode="auto">
            <a:xfrm>
              <a:off x="2410" y="1547"/>
              <a:ext cx="38" cy="27"/>
              <a:chOff x="5059" y="1638"/>
              <a:chExt cx="51" cy="31"/>
            </a:xfrm>
          </p:grpSpPr>
          <p:grpSp>
            <p:nvGrpSpPr>
              <p:cNvPr id="316" name="Group 1215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15"/>
                <a:chOff x="5059" y="1638"/>
                <a:chExt cx="51" cy="15"/>
              </a:xfrm>
            </p:grpSpPr>
            <p:sp>
              <p:nvSpPr>
                <p:cNvPr id="327" name="Oval 1216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5"/>
                </a:xfrm>
                <a:prstGeom prst="ellipse">
                  <a:avLst/>
                </a:prstGeom>
                <a:noFill/>
                <a:ln w="3175">
                  <a:solidFill>
                    <a:srgbClr val="7F7F9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8" name="Oval 1217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4"/>
                </a:xfrm>
                <a:prstGeom prst="ellipse">
                  <a:avLst/>
                </a:prstGeom>
                <a:noFill/>
                <a:ln w="3175">
                  <a:solidFill>
                    <a:srgbClr val="DFD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17" name="Freeform 1218"/>
              <p:cNvSpPr>
                <a:spLocks/>
              </p:cNvSpPr>
              <p:nvPr/>
            </p:nvSpPr>
            <p:spPr bwMode="gray">
              <a:xfrm>
                <a:off x="5064" y="1650"/>
                <a:ext cx="43" cy="19"/>
              </a:xfrm>
              <a:custGeom>
                <a:avLst/>
                <a:gdLst>
                  <a:gd name="T0" fmla="*/ 1 w 172"/>
                  <a:gd name="T1" fmla="*/ 0 h 111"/>
                  <a:gd name="T2" fmla="*/ 0 w 172"/>
                  <a:gd name="T3" fmla="*/ 3 h 111"/>
                  <a:gd name="T4" fmla="*/ 3 w 172"/>
                  <a:gd name="T5" fmla="*/ 3 h 111"/>
                  <a:gd name="T6" fmla="*/ 8 w 172"/>
                  <a:gd name="T7" fmla="*/ 3 h 111"/>
                  <a:gd name="T8" fmla="*/ 11 w 172"/>
                  <a:gd name="T9" fmla="*/ 3 h 111"/>
                  <a:gd name="T10" fmla="*/ 9 w 172"/>
                  <a:gd name="T11" fmla="*/ 0 h 111"/>
                  <a:gd name="T12" fmla="*/ 1 w 172"/>
                  <a:gd name="T13" fmla="*/ 0 h 1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2"/>
                  <a:gd name="T22" fmla="*/ 0 h 111"/>
                  <a:gd name="T23" fmla="*/ 172 w 172"/>
                  <a:gd name="T24" fmla="*/ 111 h 1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2" h="111">
                    <a:moveTo>
                      <a:pt x="20" y="1"/>
                    </a:moveTo>
                    <a:lnTo>
                      <a:pt x="0" y="92"/>
                    </a:lnTo>
                    <a:lnTo>
                      <a:pt x="46" y="111"/>
                    </a:lnTo>
                    <a:lnTo>
                      <a:pt x="131" y="111"/>
                    </a:lnTo>
                    <a:lnTo>
                      <a:pt x="172" y="89"/>
                    </a:lnTo>
                    <a:lnTo>
                      <a:pt x="149" y="0"/>
                    </a:lnTo>
                    <a:lnTo>
                      <a:pt x="20" y="1"/>
                    </a:lnTo>
                    <a:close/>
                  </a:path>
                </a:pathLst>
              </a:cu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8" name="Freeform 1219"/>
              <p:cNvSpPr>
                <a:spLocks/>
              </p:cNvSpPr>
              <p:nvPr/>
            </p:nvSpPr>
            <p:spPr bwMode="gray">
              <a:xfrm>
                <a:off x="5064" y="1650"/>
                <a:ext cx="43" cy="18"/>
              </a:xfrm>
              <a:custGeom>
                <a:avLst/>
                <a:gdLst>
                  <a:gd name="T0" fmla="*/ 1 w 170"/>
                  <a:gd name="T1" fmla="*/ 0 h 106"/>
                  <a:gd name="T2" fmla="*/ 0 w 170"/>
                  <a:gd name="T3" fmla="*/ 3 h 106"/>
                  <a:gd name="T4" fmla="*/ 3 w 170"/>
                  <a:gd name="T5" fmla="*/ 3 h 106"/>
                  <a:gd name="T6" fmla="*/ 8 w 170"/>
                  <a:gd name="T7" fmla="*/ 3 h 106"/>
                  <a:gd name="T8" fmla="*/ 11 w 170"/>
                  <a:gd name="T9" fmla="*/ 2 h 106"/>
                  <a:gd name="T10" fmla="*/ 9 w 170"/>
                  <a:gd name="T11" fmla="*/ 0 h 106"/>
                  <a:gd name="T12" fmla="*/ 1 w 170"/>
                  <a:gd name="T13" fmla="*/ 0 h 10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0"/>
                  <a:gd name="T22" fmla="*/ 0 h 106"/>
                  <a:gd name="T23" fmla="*/ 170 w 170"/>
                  <a:gd name="T24" fmla="*/ 106 h 10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0" h="106">
                    <a:moveTo>
                      <a:pt x="17" y="0"/>
                    </a:moveTo>
                    <a:lnTo>
                      <a:pt x="0" y="87"/>
                    </a:lnTo>
                    <a:lnTo>
                      <a:pt x="48" y="106"/>
                    </a:lnTo>
                    <a:lnTo>
                      <a:pt x="128" y="106"/>
                    </a:lnTo>
                    <a:lnTo>
                      <a:pt x="170" y="85"/>
                    </a:lnTo>
                    <a:lnTo>
                      <a:pt x="145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BFB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19" name="Group 1220"/>
              <p:cNvGrpSpPr>
                <a:grpSpLocks/>
              </p:cNvGrpSpPr>
              <p:nvPr/>
            </p:nvGrpSpPr>
            <p:grpSpPr bwMode="auto">
              <a:xfrm>
                <a:off x="5069" y="1650"/>
                <a:ext cx="31" cy="8"/>
                <a:chOff x="5069" y="1650"/>
                <a:chExt cx="31" cy="8"/>
              </a:xfrm>
            </p:grpSpPr>
            <p:sp>
              <p:nvSpPr>
                <p:cNvPr id="324" name="Oval 1221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0" cy="8"/>
                </a:xfrm>
                <a:prstGeom prst="ellipse">
                  <a:avLst/>
                </a:prstGeom>
                <a:solidFill>
                  <a:srgbClr val="9F9FBF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5" name="Oval 1222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8"/>
                </a:xfrm>
                <a:prstGeom prst="ellipse">
                  <a:avLst/>
                </a:prstGeom>
                <a:noFill/>
                <a:ln w="3175">
                  <a:solidFill>
                    <a:srgbClr val="7F7F9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6" name="Oval 1223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7"/>
                </a:xfrm>
                <a:prstGeom prst="ellipse">
                  <a:avLst/>
                </a:prstGeom>
                <a:noFill/>
                <a:ln w="3175">
                  <a:solidFill>
                    <a:srgbClr val="DFD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320" name="Group 1224"/>
              <p:cNvGrpSpPr>
                <a:grpSpLocks/>
              </p:cNvGrpSpPr>
              <p:nvPr/>
            </p:nvGrpSpPr>
            <p:grpSpPr bwMode="auto">
              <a:xfrm>
                <a:off x="5064" y="1658"/>
                <a:ext cx="41" cy="10"/>
                <a:chOff x="5064" y="1658"/>
                <a:chExt cx="41" cy="10"/>
              </a:xfrm>
            </p:grpSpPr>
            <p:sp>
              <p:nvSpPr>
                <p:cNvPr id="321" name="Oval 1225"/>
                <p:cNvSpPr>
                  <a:spLocks noChangeArrowheads="1"/>
                </p:cNvSpPr>
                <p:nvPr/>
              </p:nvSpPr>
              <p:spPr bwMode="gray">
                <a:xfrm>
                  <a:off x="5064" y="1659"/>
                  <a:ext cx="40" cy="9"/>
                </a:xfrm>
                <a:prstGeom prst="ellipse">
                  <a:avLst/>
                </a:prstGeom>
                <a:solidFill>
                  <a:srgbClr val="9F9FBF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2" name="Oval 1226"/>
                <p:cNvSpPr>
                  <a:spLocks noChangeArrowheads="1"/>
                </p:cNvSpPr>
                <p:nvPr/>
              </p:nvSpPr>
              <p:spPr bwMode="gray">
                <a:xfrm>
                  <a:off x="5066" y="1659"/>
                  <a:ext cx="39" cy="9"/>
                </a:xfrm>
                <a:prstGeom prst="ellipse">
                  <a:avLst/>
                </a:prstGeom>
                <a:noFill/>
                <a:ln w="3175">
                  <a:solidFill>
                    <a:srgbClr val="7F7F9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3" name="Oval 1227"/>
                <p:cNvSpPr>
                  <a:spLocks noChangeArrowheads="1"/>
                </p:cNvSpPr>
                <p:nvPr/>
              </p:nvSpPr>
              <p:spPr bwMode="gray">
                <a:xfrm>
                  <a:off x="5066" y="1658"/>
                  <a:ext cx="39" cy="10"/>
                </a:xfrm>
                <a:prstGeom prst="ellipse">
                  <a:avLst/>
                </a:prstGeom>
                <a:noFill/>
                <a:ln w="3175">
                  <a:solidFill>
                    <a:srgbClr val="DFD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63" name="Oval 1228"/>
            <p:cNvSpPr>
              <a:spLocks noChangeArrowheads="1"/>
            </p:cNvSpPr>
            <p:nvPr/>
          </p:nvSpPr>
          <p:spPr bwMode="gray">
            <a:xfrm>
              <a:off x="2424" y="1559"/>
              <a:ext cx="10" cy="3"/>
            </a:xfrm>
            <a:prstGeom prst="ellipse">
              <a:avLst/>
            </a:prstGeom>
            <a:solidFill>
              <a:srgbClr val="7F7F9F"/>
            </a:solidFill>
            <a:ln w="3175">
              <a:solidFill>
                <a:srgbClr val="BFBFD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4" name="Rectangle 1229"/>
            <p:cNvSpPr>
              <a:spLocks noChangeArrowheads="1"/>
            </p:cNvSpPr>
            <p:nvPr/>
          </p:nvSpPr>
          <p:spPr bwMode="gray">
            <a:xfrm>
              <a:off x="2326" y="1591"/>
              <a:ext cx="205" cy="250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7</a:t>
              </a:r>
            </a:p>
          </p:txBody>
        </p:sp>
        <p:grpSp>
          <p:nvGrpSpPr>
            <p:cNvPr id="165" name="Group 1232"/>
            <p:cNvGrpSpPr>
              <a:grpSpLocks/>
            </p:cNvGrpSpPr>
            <p:nvPr/>
          </p:nvGrpSpPr>
          <p:grpSpPr bwMode="auto">
            <a:xfrm>
              <a:off x="2848" y="1839"/>
              <a:ext cx="199" cy="43"/>
              <a:chOff x="2975" y="3471"/>
              <a:chExt cx="161" cy="37"/>
            </a:xfrm>
          </p:grpSpPr>
          <p:grpSp>
            <p:nvGrpSpPr>
              <p:cNvPr id="312" name="Group 1233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sp>
              <p:nvSpPr>
                <p:cNvPr id="314" name="Oval 1234"/>
                <p:cNvSpPr>
                  <a:spLocks noChangeArrowheads="1"/>
                </p:cNvSpPr>
                <p:nvPr/>
              </p:nvSpPr>
              <p:spPr bwMode="gray">
                <a:xfrm>
                  <a:off x="2975" y="3471"/>
                  <a:ext cx="161" cy="3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15" name="Oval 1235"/>
                <p:cNvSpPr>
                  <a:spLocks noChangeArrowheads="1"/>
                </p:cNvSpPr>
                <p:nvPr/>
              </p:nvSpPr>
              <p:spPr bwMode="gray">
                <a:xfrm>
                  <a:off x="2975" y="3472"/>
                  <a:ext cx="161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13" name="Freeform 1236"/>
              <p:cNvSpPr>
                <a:spLocks/>
              </p:cNvSpPr>
              <p:nvPr/>
            </p:nvSpPr>
            <p:spPr bwMode="gray">
              <a:xfrm>
                <a:off x="2991" y="3496"/>
                <a:ext cx="18" cy="5"/>
              </a:xfrm>
              <a:custGeom>
                <a:avLst/>
                <a:gdLst>
                  <a:gd name="T0" fmla="*/ 0 w 124"/>
                  <a:gd name="T1" fmla="*/ 0 h 41"/>
                  <a:gd name="T2" fmla="*/ 1 w 124"/>
                  <a:gd name="T3" fmla="*/ 0 h 41"/>
                  <a:gd name="T4" fmla="*/ 2 w 124"/>
                  <a:gd name="T5" fmla="*/ 0 h 41"/>
                  <a:gd name="T6" fmla="*/ 3 w 124"/>
                  <a:gd name="T7" fmla="*/ 0 h 41"/>
                  <a:gd name="T8" fmla="*/ 3 w 124"/>
                  <a:gd name="T9" fmla="*/ 1 h 41"/>
                  <a:gd name="T10" fmla="*/ 2 w 124"/>
                  <a:gd name="T11" fmla="*/ 0 h 41"/>
                  <a:gd name="T12" fmla="*/ 1 w 124"/>
                  <a:gd name="T13" fmla="*/ 0 h 41"/>
                  <a:gd name="T14" fmla="*/ 0 w 124"/>
                  <a:gd name="T15" fmla="*/ 0 h 41"/>
                  <a:gd name="T16" fmla="*/ 0 w 124"/>
                  <a:gd name="T17" fmla="*/ 0 h 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4"/>
                  <a:gd name="T28" fmla="*/ 0 h 41"/>
                  <a:gd name="T29" fmla="*/ 124 w 124"/>
                  <a:gd name="T30" fmla="*/ 41 h 4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4" h="41">
                    <a:moveTo>
                      <a:pt x="0" y="0"/>
                    </a:moveTo>
                    <a:lnTo>
                      <a:pt x="35" y="8"/>
                    </a:lnTo>
                    <a:lnTo>
                      <a:pt x="77" y="15"/>
                    </a:lnTo>
                    <a:lnTo>
                      <a:pt x="122" y="24"/>
                    </a:lnTo>
                    <a:lnTo>
                      <a:pt x="124" y="41"/>
                    </a:lnTo>
                    <a:lnTo>
                      <a:pt x="92" y="36"/>
                    </a:lnTo>
                    <a:lnTo>
                      <a:pt x="50" y="27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66" name="Oval 1237"/>
            <p:cNvSpPr>
              <a:spLocks noChangeArrowheads="1"/>
            </p:cNvSpPr>
            <p:nvPr/>
          </p:nvSpPr>
          <p:spPr bwMode="gray">
            <a:xfrm>
              <a:off x="2848" y="1837"/>
              <a:ext cx="199" cy="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7" name="Rectangle 1238"/>
            <p:cNvSpPr>
              <a:spLocks noChangeArrowheads="1"/>
            </p:cNvSpPr>
            <p:nvPr/>
          </p:nvSpPr>
          <p:spPr bwMode="gray">
            <a:xfrm>
              <a:off x="2849" y="1581"/>
              <a:ext cx="198" cy="2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68" name="Group 1239"/>
            <p:cNvGrpSpPr>
              <a:grpSpLocks/>
            </p:cNvGrpSpPr>
            <p:nvPr/>
          </p:nvGrpSpPr>
          <p:grpSpPr bwMode="auto">
            <a:xfrm>
              <a:off x="2849" y="1563"/>
              <a:ext cx="198" cy="38"/>
              <a:chOff x="2976" y="3234"/>
              <a:chExt cx="160" cy="33"/>
            </a:xfrm>
          </p:grpSpPr>
          <p:sp>
            <p:nvSpPr>
              <p:cNvPr id="310" name="Oval 1240"/>
              <p:cNvSpPr>
                <a:spLocks noChangeArrowheads="1"/>
              </p:cNvSpPr>
              <p:nvPr/>
            </p:nvSpPr>
            <p:spPr bwMode="gray">
              <a:xfrm>
                <a:off x="2976" y="3237"/>
                <a:ext cx="160" cy="3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11" name="Oval 1241"/>
              <p:cNvSpPr>
                <a:spLocks noChangeArrowheads="1"/>
              </p:cNvSpPr>
              <p:nvPr/>
            </p:nvSpPr>
            <p:spPr bwMode="gray">
              <a:xfrm>
                <a:off x="2976" y="3234"/>
                <a:ext cx="160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69" name="Oval 1242"/>
            <p:cNvSpPr>
              <a:spLocks noChangeArrowheads="1"/>
            </p:cNvSpPr>
            <p:nvPr/>
          </p:nvSpPr>
          <p:spPr bwMode="gray">
            <a:xfrm>
              <a:off x="2849" y="1559"/>
              <a:ext cx="198" cy="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70" name="Group 1243"/>
            <p:cNvGrpSpPr>
              <a:grpSpLocks/>
            </p:cNvGrpSpPr>
            <p:nvPr/>
          </p:nvGrpSpPr>
          <p:grpSpPr bwMode="auto">
            <a:xfrm>
              <a:off x="2848" y="1550"/>
              <a:ext cx="199" cy="33"/>
              <a:chOff x="2975" y="3223"/>
              <a:chExt cx="161" cy="28"/>
            </a:xfrm>
          </p:grpSpPr>
          <p:sp>
            <p:nvSpPr>
              <p:cNvPr id="308" name="Oval 1244"/>
              <p:cNvSpPr>
                <a:spLocks noChangeArrowheads="1"/>
              </p:cNvSpPr>
              <p:nvPr/>
            </p:nvSpPr>
            <p:spPr bwMode="gray">
              <a:xfrm>
                <a:off x="2975" y="3223"/>
                <a:ext cx="161" cy="2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09" name="Rectangle 1245"/>
              <p:cNvSpPr>
                <a:spLocks noChangeArrowheads="1"/>
              </p:cNvSpPr>
              <p:nvPr/>
            </p:nvSpPr>
            <p:spPr bwMode="gray">
              <a:xfrm>
                <a:off x="2975" y="3230"/>
                <a:ext cx="161" cy="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71" name="Group 1246"/>
            <p:cNvGrpSpPr>
              <a:grpSpLocks/>
            </p:cNvGrpSpPr>
            <p:nvPr/>
          </p:nvGrpSpPr>
          <p:grpSpPr bwMode="auto">
            <a:xfrm>
              <a:off x="2847" y="1543"/>
              <a:ext cx="200" cy="34"/>
              <a:chOff x="2974" y="3217"/>
              <a:chExt cx="162" cy="29"/>
            </a:xfrm>
          </p:grpSpPr>
          <p:grpSp>
            <p:nvGrpSpPr>
              <p:cNvPr id="304" name="Group 1247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sp>
              <p:nvSpPr>
                <p:cNvPr id="306" name="Oval 1248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07" name="Oval 1249"/>
                <p:cNvSpPr>
                  <a:spLocks noChangeArrowheads="1"/>
                </p:cNvSpPr>
                <p:nvPr/>
              </p:nvSpPr>
              <p:spPr bwMode="gray">
                <a:xfrm>
                  <a:off x="2975" y="3220"/>
                  <a:ext cx="161" cy="2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05" name="Oval 1250"/>
              <p:cNvSpPr>
                <a:spLocks noChangeArrowheads="1"/>
              </p:cNvSpPr>
              <p:nvPr/>
            </p:nvSpPr>
            <p:spPr bwMode="gray">
              <a:xfrm>
                <a:off x="2974" y="3217"/>
                <a:ext cx="162" cy="29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72" name="Freeform 1251"/>
            <p:cNvSpPr>
              <a:spLocks/>
            </p:cNvSpPr>
            <p:nvPr/>
          </p:nvSpPr>
          <p:spPr bwMode="gray">
            <a:xfrm>
              <a:off x="2868" y="1571"/>
              <a:ext cx="22" cy="6"/>
            </a:xfrm>
            <a:custGeom>
              <a:avLst/>
              <a:gdLst>
                <a:gd name="T0" fmla="*/ 0 w 123"/>
                <a:gd name="T1" fmla="*/ 0 h 36"/>
                <a:gd name="T2" fmla="*/ 1 w 123"/>
                <a:gd name="T3" fmla="*/ 0 h 36"/>
                <a:gd name="T4" fmla="*/ 3 w 123"/>
                <a:gd name="T5" fmla="*/ 0 h 36"/>
                <a:gd name="T6" fmla="*/ 4 w 123"/>
                <a:gd name="T7" fmla="*/ 0 h 36"/>
                <a:gd name="T8" fmla="*/ 4 w 123"/>
                <a:gd name="T9" fmla="*/ 1 h 36"/>
                <a:gd name="T10" fmla="*/ 3 w 123"/>
                <a:gd name="T11" fmla="*/ 1 h 36"/>
                <a:gd name="T12" fmla="*/ 2 w 123"/>
                <a:gd name="T13" fmla="*/ 1 h 36"/>
                <a:gd name="T14" fmla="*/ 0 w 123"/>
                <a:gd name="T15" fmla="*/ 0 h 36"/>
                <a:gd name="T16" fmla="*/ 0 w 123"/>
                <a:gd name="T17" fmla="*/ 0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3"/>
                <a:gd name="T28" fmla="*/ 0 h 36"/>
                <a:gd name="T29" fmla="*/ 123 w 123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3" h="36">
                  <a:moveTo>
                    <a:pt x="0" y="0"/>
                  </a:moveTo>
                  <a:lnTo>
                    <a:pt x="35" y="6"/>
                  </a:lnTo>
                  <a:lnTo>
                    <a:pt x="77" y="14"/>
                  </a:lnTo>
                  <a:lnTo>
                    <a:pt x="122" y="21"/>
                  </a:lnTo>
                  <a:lnTo>
                    <a:pt x="123" y="36"/>
                  </a:lnTo>
                  <a:lnTo>
                    <a:pt x="91" y="33"/>
                  </a:lnTo>
                  <a:lnTo>
                    <a:pt x="49" y="24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73" name="Group 1252"/>
            <p:cNvGrpSpPr>
              <a:grpSpLocks/>
            </p:cNvGrpSpPr>
            <p:nvPr/>
          </p:nvGrpSpPr>
          <p:grpSpPr bwMode="auto">
            <a:xfrm>
              <a:off x="2927" y="1546"/>
              <a:ext cx="41" cy="30"/>
              <a:chOff x="3039" y="3220"/>
              <a:chExt cx="33" cy="25"/>
            </a:xfrm>
          </p:grpSpPr>
          <p:grpSp>
            <p:nvGrpSpPr>
              <p:cNvPr id="289" name="Group 1253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291" name="Group 1254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13"/>
                  <a:chOff x="3039" y="3220"/>
                  <a:chExt cx="33" cy="13"/>
                </a:xfrm>
              </p:grpSpPr>
              <p:sp>
                <p:nvSpPr>
                  <p:cNvPr id="302" name="Oval 1255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3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03" name="Oval 1256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2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292" name="Freeform 1257"/>
                <p:cNvSpPr>
                  <a:spLocks/>
                </p:cNvSpPr>
                <p:nvPr/>
              </p:nvSpPr>
              <p:spPr bwMode="gray">
                <a:xfrm>
                  <a:off x="3042" y="3230"/>
                  <a:ext cx="27" cy="15"/>
                </a:xfrm>
                <a:custGeom>
                  <a:avLst/>
                  <a:gdLst>
                    <a:gd name="T0" fmla="*/ 0 w 189"/>
                    <a:gd name="T1" fmla="*/ 0 h 102"/>
                    <a:gd name="T2" fmla="*/ 0 w 189"/>
                    <a:gd name="T3" fmla="*/ 2 h 102"/>
                    <a:gd name="T4" fmla="*/ 1 w 189"/>
                    <a:gd name="T5" fmla="*/ 2 h 102"/>
                    <a:gd name="T6" fmla="*/ 3 w 189"/>
                    <a:gd name="T7" fmla="*/ 2 h 102"/>
                    <a:gd name="T8" fmla="*/ 4 w 189"/>
                    <a:gd name="T9" fmla="*/ 2 h 102"/>
                    <a:gd name="T10" fmla="*/ 3 w 189"/>
                    <a:gd name="T11" fmla="*/ 0 h 102"/>
                    <a:gd name="T12" fmla="*/ 0 w 189"/>
                    <a:gd name="T13" fmla="*/ 0 h 10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9"/>
                    <a:gd name="T22" fmla="*/ 0 h 102"/>
                    <a:gd name="T23" fmla="*/ 189 w 189"/>
                    <a:gd name="T24" fmla="*/ 102 h 10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9" h="102">
                      <a:moveTo>
                        <a:pt x="22" y="1"/>
                      </a:moveTo>
                      <a:lnTo>
                        <a:pt x="0" y="84"/>
                      </a:lnTo>
                      <a:lnTo>
                        <a:pt x="50" y="102"/>
                      </a:lnTo>
                      <a:lnTo>
                        <a:pt x="144" y="102"/>
                      </a:lnTo>
                      <a:lnTo>
                        <a:pt x="189" y="81"/>
                      </a:lnTo>
                      <a:lnTo>
                        <a:pt x="164" y="0"/>
                      </a:lnTo>
                      <a:lnTo>
                        <a:pt x="22" y="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3" name="Freeform 1258"/>
                <p:cNvSpPr>
                  <a:spLocks/>
                </p:cNvSpPr>
                <p:nvPr/>
              </p:nvSpPr>
              <p:spPr bwMode="gray">
                <a:xfrm>
                  <a:off x="3043" y="3230"/>
                  <a:ext cx="26" cy="14"/>
                </a:xfrm>
                <a:custGeom>
                  <a:avLst/>
                  <a:gdLst>
                    <a:gd name="T0" fmla="*/ 0 w 187"/>
                    <a:gd name="T1" fmla="*/ 0 h 97"/>
                    <a:gd name="T2" fmla="*/ 0 w 187"/>
                    <a:gd name="T3" fmla="*/ 2 h 97"/>
                    <a:gd name="T4" fmla="*/ 1 w 187"/>
                    <a:gd name="T5" fmla="*/ 2 h 97"/>
                    <a:gd name="T6" fmla="*/ 3 w 187"/>
                    <a:gd name="T7" fmla="*/ 2 h 97"/>
                    <a:gd name="T8" fmla="*/ 4 w 187"/>
                    <a:gd name="T9" fmla="*/ 2 h 97"/>
                    <a:gd name="T10" fmla="*/ 3 w 187"/>
                    <a:gd name="T11" fmla="*/ 0 h 97"/>
                    <a:gd name="T12" fmla="*/ 0 w 187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7"/>
                    <a:gd name="T22" fmla="*/ 0 h 97"/>
                    <a:gd name="T23" fmla="*/ 187 w 187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7" h="97">
                      <a:moveTo>
                        <a:pt x="19" y="0"/>
                      </a:moveTo>
                      <a:lnTo>
                        <a:pt x="0" y="79"/>
                      </a:lnTo>
                      <a:lnTo>
                        <a:pt x="53" y="97"/>
                      </a:lnTo>
                      <a:lnTo>
                        <a:pt x="141" y="97"/>
                      </a:lnTo>
                      <a:lnTo>
                        <a:pt x="187" y="78"/>
                      </a:lnTo>
                      <a:lnTo>
                        <a:pt x="159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294" name="Group 1259"/>
                <p:cNvGrpSpPr>
                  <a:grpSpLocks/>
                </p:cNvGrpSpPr>
                <p:nvPr/>
              </p:nvGrpSpPr>
              <p:grpSpPr bwMode="auto">
                <a:xfrm>
                  <a:off x="3045" y="3229"/>
                  <a:ext cx="21" cy="8"/>
                  <a:chOff x="3045" y="3229"/>
                  <a:chExt cx="21" cy="8"/>
                </a:xfrm>
              </p:grpSpPr>
              <p:sp>
                <p:nvSpPr>
                  <p:cNvPr id="299" name="Oval 1260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0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00" name="Oval 1261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01" name="Oval 1262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7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295" name="Group 1263"/>
                <p:cNvGrpSpPr>
                  <a:grpSpLocks/>
                </p:cNvGrpSpPr>
                <p:nvPr/>
              </p:nvGrpSpPr>
              <p:grpSpPr bwMode="auto">
                <a:xfrm>
                  <a:off x="3042" y="3235"/>
                  <a:ext cx="27" cy="10"/>
                  <a:chOff x="3042" y="3235"/>
                  <a:chExt cx="27" cy="10"/>
                </a:xfrm>
              </p:grpSpPr>
              <p:sp>
                <p:nvSpPr>
                  <p:cNvPr id="296" name="Oval 1264"/>
                  <p:cNvSpPr>
                    <a:spLocks noChangeArrowheads="1"/>
                  </p:cNvSpPr>
                  <p:nvPr/>
                </p:nvSpPr>
                <p:spPr bwMode="gray">
                  <a:xfrm>
                    <a:off x="3042" y="3236"/>
                    <a:ext cx="27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97" name="Oval 1265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6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98" name="Oval 1266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5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290" name="Oval 1267"/>
              <p:cNvSpPr>
                <a:spLocks noChangeArrowheads="1"/>
              </p:cNvSpPr>
              <p:nvPr/>
            </p:nvSpPr>
            <p:spPr bwMode="gray">
              <a:xfrm>
                <a:off x="3051" y="3231"/>
                <a:ext cx="9" cy="4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74" name="Rectangle 1268"/>
            <p:cNvSpPr>
              <a:spLocks noChangeArrowheads="1"/>
            </p:cNvSpPr>
            <p:nvPr/>
          </p:nvSpPr>
          <p:spPr bwMode="gray">
            <a:xfrm>
              <a:off x="2841" y="1579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75" name="Group 1271"/>
            <p:cNvGrpSpPr>
              <a:grpSpLocks/>
            </p:cNvGrpSpPr>
            <p:nvPr/>
          </p:nvGrpSpPr>
          <p:grpSpPr bwMode="auto">
            <a:xfrm>
              <a:off x="3863" y="1839"/>
              <a:ext cx="199" cy="43"/>
              <a:chOff x="2975" y="3471"/>
              <a:chExt cx="161" cy="37"/>
            </a:xfrm>
          </p:grpSpPr>
          <p:grpSp>
            <p:nvGrpSpPr>
              <p:cNvPr id="285" name="Group 1272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sp>
              <p:nvSpPr>
                <p:cNvPr id="287" name="Oval 1273"/>
                <p:cNvSpPr>
                  <a:spLocks noChangeArrowheads="1"/>
                </p:cNvSpPr>
                <p:nvPr/>
              </p:nvSpPr>
              <p:spPr bwMode="gray">
                <a:xfrm>
                  <a:off x="2975" y="3471"/>
                  <a:ext cx="161" cy="3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88" name="Oval 1274"/>
                <p:cNvSpPr>
                  <a:spLocks noChangeArrowheads="1"/>
                </p:cNvSpPr>
                <p:nvPr/>
              </p:nvSpPr>
              <p:spPr bwMode="gray">
                <a:xfrm>
                  <a:off x="2975" y="3472"/>
                  <a:ext cx="161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86" name="Freeform 1275"/>
              <p:cNvSpPr>
                <a:spLocks/>
              </p:cNvSpPr>
              <p:nvPr/>
            </p:nvSpPr>
            <p:spPr bwMode="gray">
              <a:xfrm>
                <a:off x="2991" y="3496"/>
                <a:ext cx="18" cy="5"/>
              </a:xfrm>
              <a:custGeom>
                <a:avLst/>
                <a:gdLst>
                  <a:gd name="T0" fmla="*/ 0 w 124"/>
                  <a:gd name="T1" fmla="*/ 0 h 41"/>
                  <a:gd name="T2" fmla="*/ 1 w 124"/>
                  <a:gd name="T3" fmla="*/ 0 h 41"/>
                  <a:gd name="T4" fmla="*/ 2 w 124"/>
                  <a:gd name="T5" fmla="*/ 0 h 41"/>
                  <a:gd name="T6" fmla="*/ 3 w 124"/>
                  <a:gd name="T7" fmla="*/ 0 h 41"/>
                  <a:gd name="T8" fmla="*/ 3 w 124"/>
                  <a:gd name="T9" fmla="*/ 1 h 41"/>
                  <a:gd name="T10" fmla="*/ 2 w 124"/>
                  <a:gd name="T11" fmla="*/ 0 h 41"/>
                  <a:gd name="T12" fmla="*/ 1 w 124"/>
                  <a:gd name="T13" fmla="*/ 0 h 41"/>
                  <a:gd name="T14" fmla="*/ 0 w 124"/>
                  <a:gd name="T15" fmla="*/ 0 h 41"/>
                  <a:gd name="T16" fmla="*/ 0 w 124"/>
                  <a:gd name="T17" fmla="*/ 0 h 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4"/>
                  <a:gd name="T28" fmla="*/ 0 h 41"/>
                  <a:gd name="T29" fmla="*/ 124 w 124"/>
                  <a:gd name="T30" fmla="*/ 41 h 4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4" h="41">
                    <a:moveTo>
                      <a:pt x="0" y="0"/>
                    </a:moveTo>
                    <a:lnTo>
                      <a:pt x="35" y="8"/>
                    </a:lnTo>
                    <a:lnTo>
                      <a:pt x="77" y="15"/>
                    </a:lnTo>
                    <a:lnTo>
                      <a:pt x="122" y="24"/>
                    </a:lnTo>
                    <a:lnTo>
                      <a:pt x="124" y="41"/>
                    </a:lnTo>
                    <a:lnTo>
                      <a:pt x="92" y="36"/>
                    </a:lnTo>
                    <a:lnTo>
                      <a:pt x="50" y="27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76" name="Oval 1276"/>
            <p:cNvSpPr>
              <a:spLocks noChangeArrowheads="1"/>
            </p:cNvSpPr>
            <p:nvPr/>
          </p:nvSpPr>
          <p:spPr bwMode="gray">
            <a:xfrm>
              <a:off x="3863" y="1837"/>
              <a:ext cx="199" cy="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77" name="Rectangle 1277"/>
            <p:cNvSpPr>
              <a:spLocks noChangeArrowheads="1"/>
            </p:cNvSpPr>
            <p:nvPr/>
          </p:nvSpPr>
          <p:spPr bwMode="gray">
            <a:xfrm>
              <a:off x="3864" y="1581"/>
              <a:ext cx="198" cy="2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78" name="Group 1278"/>
            <p:cNvGrpSpPr>
              <a:grpSpLocks/>
            </p:cNvGrpSpPr>
            <p:nvPr/>
          </p:nvGrpSpPr>
          <p:grpSpPr bwMode="auto">
            <a:xfrm>
              <a:off x="3864" y="1563"/>
              <a:ext cx="198" cy="38"/>
              <a:chOff x="2976" y="3234"/>
              <a:chExt cx="160" cy="33"/>
            </a:xfrm>
          </p:grpSpPr>
          <p:sp>
            <p:nvSpPr>
              <p:cNvPr id="283" name="Oval 1279"/>
              <p:cNvSpPr>
                <a:spLocks noChangeArrowheads="1"/>
              </p:cNvSpPr>
              <p:nvPr/>
            </p:nvSpPr>
            <p:spPr bwMode="gray">
              <a:xfrm>
                <a:off x="2976" y="3237"/>
                <a:ext cx="160" cy="3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84" name="Oval 1280"/>
              <p:cNvSpPr>
                <a:spLocks noChangeArrowheads="1"/>
              </p:cNvSpPr>
              <p:nvPr/>
            </p:nvSpPr>
            <p:spPr bwMode="gray">
              <a:xfrm>
                <a:off x="2976" y="3234"/>
                <a:ext cx="160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79" name="Oval 1281"/>
            <p:cNvSpPr>
              <a:spLocks noChangeArrowheads="1"/>
            </p:cNvSpPr>
            <p:nvPr/>
          </p:nvSpPr>
          <p:spPr bwMode="gray">
            <a:xfrm>
              <a:off x="3864" y="1559"/>
              <a:ext cx="198" cy="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80" name="Group 1282"/>
            <p:cNvGrpSpPr>
              <a:grpSpLocks/>
            </p:cNvGrpSpPr>
            <p:nvPr/>
          </p:nvGrpSpPr>
          <p:grpSpPr bwMode="auto">
            <a:xfrm>
              <a:off x="3863" y="1550"/>
              <a:ext cx="199" cy="33"/>
              <a:chOff x="2975" y="3223"/>
              <a:chExt cx="161" cy="28"/>
            </a:xfrm>
          </p:grpSpPr>
          <p:sp>
            <p:nvSpPr>
              <p:cNvPr id="281" name="Oval 1283"/>
              <p:cNvSpPr>
                <a:spLocks noChangeArrowheads="1"/>
              </p:cNvSpPr>
              <p:nvPr/>
            </p:nvSpPr>
            <p:spPr bwMode="gray">
              <a:xfrm>
                <a:off x="2975" y="3223"/>
                <a:ext cx="161" cy="2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82" name="Rectangle 1284"/>
              <p:cNvSpPr>
                <a:spLocks noChangeArrowheads="1"/>
              </p:cNvSpPr>
              <p:nvPr/>
            </p:nvSpPr>
            <p:spPr bwMode="gray">
              <a:xfrm>
                <a:off x="2975" y="3230"/>
                <a:ext cx="161" cy="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81" name="Group 1285"/>
            <p:cNvGrpSpPr>
              <a:grpSpLocks/>
            </p:cNvGrpSpPr>
            <p:nvPr/>
          </p:nvGrpSpPr>
          <p:grpSpPr bwMode="auto">
            <a:xfrm>
              <a:off x="3862" y="1543"/>
              <a:ext cx="200" cy="34"/>
              <a:chOff x="2974" y="3217"/>
              <a:chExt cx="162" cy="29"/>
            </a:xfrm>
          </p:grpSpPr>
          <p:grpSp>
            <p:nvGrpSpPr>
              <p:cNvPr id="277" name="Group 1286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sp>
              <p:nvSpPr>
                <p:cNvPr id="279" name="Oval 1287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80" name="Oval 1288"/>
                <p:cNvSpPr>
                  <a:spLocks noChangeArrowheads="1"/>
                </p:cNvSpPr>
                <p:nvPr/>
              </p:nvSpPr>
              <p:spPr bwMode="gray">
                <a:xfrm>
                  <a:off x="2975" y="3220"/>
                  <a:ext cx="161" cy="2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78" name="Oval 1289"/>
              <p:cNvSpPr>
                <a:spLocks noChangeArrowheads="1"/>
              </p:cNvSpPr>
              <p:nvPr/>
            </p:nvSpPr>
            <p:spPr bwMode="gray">
              <a:xfrm>
                <a:off x="2974" y="3217"/>
                <a:ext cx="162" cy="29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82" name="Freeform 1290"/>
            <p:cNvSpPr>
              <a:spLocks/>
            </p:cNvSpPr>
            <p:nvPr/>
          </p:nvSpPr>
          <p:spPr bwMode="gray">
            <a:xfrm>
              <a:off x="3883" y="1571"/>
              <a:ext cx="22" cy="6"/>
            </a:xfrm>
            <a:custGeom>
              <a:avLst/>
              <a:gdLst>
                <a:gd name="T0" fmla="*/ 0 w 123"/>
                <a:gd name="T1" fmla="*/ 0 h 36"/>
                <a:gd name="T2" fmla="*/ 1 w 123"/>
                <a:gd name="T3" fmla="*/ 0 h 36"/>
                <a:gd name="T4" fmla="*/ 3 w 123"/>
                <a:gd name="T5" fmla="*/ 0 h 36"/>
                <a:gd name="T6" fmla="*/ 4 w 123"/>
                <a:gd name="T7" fmla="*/ 0 h 36"/>
                <a:gd name="T8" fmla="*/ 4 w 123"/>
                <a:gd name="T9" fmla="*/ 1 h 36"/>
                <a:gd name="T10" fmla="*/ 3 w 123"/>
                <a:gd name="T11" fmla="*/ 1 h 36"/>
                <a:gd name="T12" fmla="*/ 2 w 123"/>
                <a:gd name="T13" fmla="*/ 1 h 36"/>
                <a:gd name="T14" fmla="*/ 0 w 123"/>
                <a:gd name="T15" fmla="*/ 0 h 36"/>
                <a:gd name="T16" fmla="*/ 0 w 123"/>
                <a:gd name="T17" fmla="*/ 0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3"/>
                <a:gd name="T28" fmla="*/ 0 h 36"/>
                <a:gd name="T29" fmla="*/ 123 w 123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3" h="36">
                  <a:moveTo>
                    <a:pt x="0" y="0"/>
                  </a:moveTo>
                  <a:lnTo>
                    <a:pt x="35" y="6"/>
                  </a:lnTo>
                  <a:lnTo>
                    <a:pt x="77" y="14"/>
                  </a:lnTo>
                  <a:lnTo>
                    <a:pt x="122" y="21"/>
                  </a:lnTo>
                  <a:lnTo>
                    <a:pt x="123" y="36"/>
                  </a:lnTo>
                  <a:lnTo>
                    <a:pt x="91" y="33"/>
                  </a:lnTo>
                  <a:lnTo>
                    <a:pt x="49" y="24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83" name="Group 1291"/>
            <p:cNvGrpSpPr>
              <a:grpSpLocks/>
            </p:cNvGrpSpPr>
            <p:nvPr/>
          </p:nvGrpSpPr>
          <p:grpSpPr bwMode="auto">
            <a:xfrm>
              <a:off x="3942" y="1546"/>
              <a:ext cx="41" cy="30"/>
              <a:chOff x="3039" y="3220"/>
              <a:chExt cx="33" cy="25"/>
            </a:xfrm>
          </p:grpSpPr>
          <p:grpSp>
            <p:nvGrpSpPr>
              <p:cNvPr id="262" name="Group 1292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264" name="Group 1293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13"/>
                  <a:chOff x="3039" y="3220"/>
                  <a:chExt cx="33" cy="13"/>
                </a:xfrm>
              </p:grpSpPr>
              <p:sp>
                <p:nvSpPr>
                  <p:cNvPr id="275" name="Oval 1294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3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6" name="Oval 1295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2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265" name="Freeform 1296"/>
                <p:cNvSpPr>
                  <a:spLocks/>
                </p:cNvSpPr>
                <p:nvPr/>
              </p:nvSpPr>
              <p:spPr bwMode="gray">
                <a:xfrm>
                  <a:off x="3042" y="3230"/>
                  <a:ext cx="27" cy="15"/>
                </a:xfrm>
                <a:custGeom>
                  <a:avLst/>
                  <a:gdLst>
                    <a:gd name="T0" fmla="*/ 0 w 189"/>
                    <a:gd name="T1" fmla="*/ 0 h 102"/>
                    <a:gd name="T2" fmla="*/ 0 w 189"/>
                    <a:gd name="T3" fmla="*/ 2 h 102"/>
                    <a:gd name="T4" fmla="*/ 1 w 189"/>
                    <a:gd name="T5" fmla="*/ 2 h 102"/>
                    <a:gd name="T6" fmla="*/ 3 w 189"/>
                    <a:gd name="T7" fmla="*/ 2 h 102"/>
                    <a:gd name="T8" fmla="*/ 4 w 189"/>
                    <a:gd name="T9" fmla="*/ 2 h 102"/>
                    <a:gd name="T10" fmla="*/ 3 w 189"/>
                    <a:gd name="T11" fmla="*/ 0 h 102"/>
                    <a:gd name="T12" fmla="*/ 0 w 189"/>
                    <a:gd name="T13" fmla="*/ 0 h 10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9"/>
                    <a:gd name="T22" fmla="*/ 0 h 102"/>
                    <a:gd name="T23" fmla="*/ 189 w 189"/>
                    <a:gd name="T24" fmla="*/ 102 h 10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9" h="102">
                      <a:moveTo>
                        <a:pt x="22" y="1"/>
                      </a:moveTo>
                      <a:lnTo>
                        <a:pt x="0" y="84"/>
                      </a:lnTo>
                      <a:lnTo>
                        <a:pt x="50" y="102"/>
                      </a:lnTo>
                      <a:lnTo>
                        <a:pt x="144" y="102"/>
                      </a:lnTo>
                      <a:lnTo>
                        <a:pt x="189" y="81"/>
                      </a:lnTo>
                      <a:lnTo>
                        <a:pt x="164" y="0"/>
                      </a:lnTo>
                      <a:lnTo>
                        <a:pt x="22" y="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66" name="Freeform 1297"/>
                <p:cNvSpPr>
                  <a:spLocks/>
                </p:cNvSpPr>
                <p:nvPr/>
              </p:nvSpPr>
              <p:spPr bwMode="gray">
                <a:xfrm>
                  <a:off x="3043" y="3230"/>
                  <a:ext cx="26" cy="14"/>
                </a:xfrm>
                <a:custGeom>
                  <a:avLst/>
                  <a:gdLst>
                    <a:gd name="T0" fmla="*/ 0 w 187"/>
                    <a:gd name="T1" fmla="*/ 0 h 97"/>
                    <a:gd name="T2" fmla="*/ 0 w 187"/>
                    <a:gd name="T3" fmla="*/ 2 h 97"/>
                    <a:gd name="T4" fmla="*/ 1 w 187"/>
                    <a:gd name="T5" fmla="*/ 2 h 97"/>
                    <a:gd name="T6" fmla="*/ 3 w 187"/>
                    <a:gd name="T7" fmla="*/ 2 h 97"/>
                    <a:gd name="T8" fmla="*/ 4 w 187"/>
                    <a:gd name="T9" fmla="*/ 2 h 97"/>
                    <a:gd name="T10" fmla="*/ 3 w 187"/>
                    <a:gd name="T11" fmla="*/ 0 h 97"/>
                    <a:gd name="T12" fmla="*/ 0 w 187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7"/>
                    <a:gd name="T22" fmla="*/ 0 h 97"/>
                    <a:gd name="T23" fmla="*/ 187 w 187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7" h="97">
                      <a:moveTo>
                        <a:pt x="19" y="0"/>
                      </a:moveTo>
                      <a:lnTo>
                        <a:pt x="0" y="79"/>
                      </a:lnTo>
                      <a:lnTo>
                        <a:pt x="53" y="97"/>
                      </a:lnTo>
                      <a:lnTo>
                        <a:pt x="141" y="97"/>
                      </a:lnTo>
                      <a:lnTo>
                        <a:pt x="187" y="78"/>
                      </a:lnTo>
                      <a:lnTo>
                        <a:pt x="159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267" name="Group 1298"/>
                <p:cNvGrpSpPr>
                  <a:grpSpLocks/>
                </p:cNvGrpSpPr>
                <p:nvPr/>
              </p:nvGrpSpPr>
              <p:grpSpPr bwMode="auto">
                <a:xfrm>
                  <a:off x="3045" y="3229"/>
                  <a:ext cx="21" cy="8"/>
                  <a:chOff x="3045" y="3229"/>
                  <a:chExt cx="21" cy="8"/>
                </a:xfrm>
              </p:grpSpPr>
              <p:sp>
                <p:nvSpPr>
                  <p:cNvPr id="272" name="Oval 1299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0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3" name="Oval 1300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4" name="Oval 1301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7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268" name="Group 1302"/>
                <p:cNvGrpSpPr>
                  <a:grpSpLocks/>
                </p:cNvGrpSpPr>
                <p:nvPr/>
              </p:nvGrpSpPr>
              <p:grpSpPr bwMode="auto">
                <a:xfrm>
                  <a:off x="3042" y="3235"/>
                  <a:ext cx="27" cy="10"/>
                  <a:chOff x="3042" y="3235"/>
                  <a:chExt cx="27" cy="10"/>
                </a:xfrm>
              </p:grpSpPr>
              <p:sp>
                <p:nvSpPr>
                  <p:cNvPr id="269" name="Oval 1303"/>
                  <p:cNvSpPr>
                    <a:spLocks noChangeArrowheads="1"/>
                  </p:cNvSpPr>
                  <p:nvPr/>
                </p:nvSpPr>
                <p:spPr bwMode="gray">
                  <a:xfrm>
                    <a:off x="3042" y="3236"/>
                    <a:ext cx="27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0" name="Oval 1304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6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1" name="Oval 1305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5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263" name="Oval 1306"/>
              <p:cNvSpPr>
                <a:spLocks noChangeArrowheads="1"/>
              </p:cNvSpPr>
              <p:nvPr/>
            </p:nvSpPr>
            <p:spPr bwMode="gray">
              <a:xfrm>
                <a:off x="3051" y="3231"/>
                <a:ext cx="9" cy="4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84" name="Rectangle 1307"/>
            <p:cNvSpPr>
              <a:spLocks noChangeArrowheads="1"/>
            </p:cNvSpPr>
            <p:nvPr/>
          </p:nvSpPr>
          <p:spPr bwMode="gray">
            <a:xfrm>
              <a:off x="3856" y="1579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sp>
          <p:nvSpPr>
            <p:cNvPr id="186" name="Rectangle 1310"/>
            <p:cNvSpPr>
              <a:spLocks noChangeArrowheads="1"/>
            </p:cNvSpPr>
            <p:nvPr/>
          </p:nvSpPr>
          <p:spPr bwMode="gray">
            <a:xfrm>
              <a:off x="2064" y="1570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187" name="Object 13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136516149"/>
                </p:ext>
              </p:extLst>
            </p:nvPr>
          </p:nvGraphicFramePr>
          <p:xfrm>
            <a:off x="2598" y="1543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62" name="Clip" r:id="rId19" imgW="1898640" imgH="3657600" progId="MS_ClipArt_Gallery.2">
                    <p:embed/>
                  </p:oleObj>
                </mc:Choice>
                <mc:Fallback>
                  <p:oleObj name="Clip" r:id="rId19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2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598" y="1543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88" name="Rectangle 1313"/>
            <p:cNvSpPr>
              <a:spLocks noChangeArrowheads="1"/>
            </p:cNvSpPr>
            <p:nvPr/>
          </p:nvSpPr>
          <p:spPr bwMode="gray">
            <a:xfrm>
              <a:off x="2584" y="1570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 dirty="0">
                  <a:latin typeface="Times New Roman" pitchFamily="18" charset="0"/>
                </a:rPr>
                <a:t>P</a:t>
              </a:r>
            </a:p>
          </p:txBody>
        </p:sp>
        <p:grpSp>
          <p:nvGrpSpPr>
            <p:cNvPr id="189" name="Group 1316"/>
            <p:cNvGrpSpPr>
              <a:grpSpLocks/>
            </p:cNvGrpSpPr>
            <p:nvPr/>
          </p:nvGrpSpPr>
          <p:grpSpPr bwMode="auto">
            <a:xfrm>
              <a:off x="3127" y="1836"/>
              <a:ext cx="199" cy="43"/>
              <a:chOff x="2975" y="3471"/>
              <a:chExt cx="161" cy="37"/>
            </a:xfrm>
          </p:grpSpPr>
          <p:grpSp>
            <p:nvGrpSpPr>
              <p:cNvPr id="258" name="Group 1317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sp>
              <p:nvSpPr>
                <p:cNvPr id="260" name="Oval 1318"/>
                <p:cNvSpPr>
                  <a:spLocks noChangeArrowheads="1"/>
                </p:cNvSpPr>
                <p:nvPr/>
              </p:nvSpPr>
              <p:spPr bwMode="gray">
                <a:xfrm>
                  <a:off x="2975" y="3471"/>
                  <a:ext cx="161" cy="3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61" name="Oval 1319"/>
                <p:cNvSpPr>
                  <a:spLocks noChangeArrowheads="1"/>
                </p:cNvSpPr>
                <p:nvPr/>
              </p:nvSpPr>
              <p:spPr bwMode="gray">
                <a:xfrm>
                  <a:off x="2975" y="3472"/>
                  <a:ext cx="161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59" name="Freeform 1320"/>
              <p:cNvSpPr>
                <a:spLocks/>
              </p:cNvSpPr>
              <p:nvPr/>
            </p:nvSpPr>
            <p:spPr bwMode="gray">
              <a:xfrm>
                <a:off x="2991" y="3496"/>
                <a:ext cx="18" cy="5"/>
              </a:xfrm>
              <a:custGeom>
                <a:avLst/>
                <a:gdLst>
                  <a:gd name="T0" fmla="*/ 0 w 124"/>
                  <a:gd name="T1" fmla="*/ 0 h 41"/>
                  <a:gd name="T2" fmla="*/ 1 w 124"/>
                  <a:gd name="T3" fmla="*/ 0 h 41"/>
                  <a:gd name="T4" fmla="*/ 2 w 124"/>
                  <a:gd name="T5" fmla="*/ 0 h 41"/>
                  <a:gd name="T6" fmla="*/ 3 w 124"/>
                  <a:gd name="T7" fmla="*/ 0 h 41"/>
                  <a:gd name="T8" fmla="*/ 3 w 124"/>
                  <a:gd name="T9" fmla="*/ 1 h 41"/>
                  <a:gd name="T10" fmla="*/ 2 w 124"/>
                  <a:gd name="T11" fmla="*/ 0 h 41"/>
                  <a:gd name="T12" fmla="*/ 1 w 124"/>
                  <a:gd name="T13" fmla="*/ 0 h 41"/>
                  <a:gd name="T14" fmla="*/ 0 w 124"/>
                  <a:gd name="T15" fmla="*/ 0 h 41"/>
                  <a:gd name="T16" fmla="*/ 0 w 124"/>
                  <a:gd name="T17" fmla="*/ 0 h 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4"/>
                  <a:gd name="T28" fmla="*/ 0 h 41"/>
                  <a:gd name="T29" fmla="*/ 124 w 124"/>
                  <a:gd name="T30" fmla="*/ 41 h 4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4" h="41">
                    <a:moveTo>
                      <a:pt x="0" y="0"/>
                    </a:moveTo>
                    <a:lnTo>
                      <a:pt x="35" y="8"/>
                    </a:lnTo>
                    <a:lnTo>
                      <a:pt x="77" y="15"/>
                    </a:lnTo>
                    <a:lnTo>
                      <a:pt x="122" y="24"/>
                    </a:lnTo>
                    <a:lnTo>
                      <a:pt x="124" y="41"/>
                    </a:lnTo>
                    <a:lnTo>
                      <a:pt x="92" y="36"/>
                    </a:lnTo>
                    <a:lnTo>
                      <a:pt x="50" y="27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90" name="Oval 1321"/>
            <p:cNvSpPr>
              <a:spLocks noChangeArrowheads="1"/>
            </p:cNvSpPr>
            <p:nvPr/>
          </p:nvSpPr>
          <p:spPr bwMode="gray">
            <a:xfrm>
              <a:off x="3127" y="1834"/>
              <a:ext cx="199" cy="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91" name="Rectangle 1322"/>
            <p:cNvSpPr>
              <a:spLocks noChangeArrowheads="1"/>
            </p:cNvSpPr>
            <p:nvPr/>
          </p:nvSpPr>
          <p:spPr bwMode="gray">
            <a:xfrm>
              <a:off x="3128" y="1578"/>
              <a:ext cx="198" cy="2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92" name="Group 1323"/>
            <p:cNvGrpSpPr>
              <a:grpSpLocks/>
            </p:cNvGrpSpPr>
            <p:nvPr/>
          </p:nvGrpSpPr>
          <p:grpSpPr bwMode="auto">
            <a:xfrm>
              <a:off x="3128" y="1560"/>
              <a:ext cx="198" cy="38"/>
              <a:chOff x="2976" y="3234"/>
              <a:chExt cx="160" cy="33"/>
            </a:xfrm>
          </p:grpSpPr>
          <p:sp>
            <p:nvSpPr>
              <p:cNvPr id="256" name="Oval 1324"/>
              <p:cNvSpPr>
                <a:spLocks noChangeArrowheads="1"/>
              </p:cNvSpPr>
              <p:nvPr/>
            </p:nvSpPr>
            <p:spPr bwMode="gray">
              <a:xfrm>
                <a:off x="2976" y="3237"/>
                <a:ext cx="160" cy="3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57" name="Oval 1325"/>
              <p:cNvSpPr>
                <a:spLocks noChangeArrowheads="1"/>
              </p:cNvSpPr>
              <p:nvPr/>
            </p:nvSpPr>
            <p:spPr bwMode="gray">
              <a:xfrm>
                <a:off x="2976" y="3234"/>
                <a:ext cx="160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93" name="Oval 1326"/>
            <p:cNvSpPr>
              <a:spLocks noChangeArrowheads="1"/>
            </p:cNvSpPr>
            <p:nvPr/>
          </p:nvSpPr>
          <p:spPr bwMode="gray">
            <a:xfrm>
              <a:off x="3128" y="1556"/>
              <a:ext cx="198" cy="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94" name="Group 1327"/>
            <p:cNvGrpSpPr>
              <a:grpSpLocks/>
            </p:cNvGrpSpPr>
            <p:nvPr/>
          </p:nvGrpSpPr>
          <p:grpSpPr bwMode="auto">
            <a:xfrm>
              <a:off x="3127" y="1547"/>
              <a:ext cx="199" cy="33"/>
              <a:chOff x="2975" y="3223"/>
              <a:chExt cx="161" cy="28"/>
            </a:xfrm>
          </p:grpSpPr>
          <p:sp>
            <p:nvSpPr>
              <p:cNvPr id="254" name="Oval 1328"/>
              <p:cNvSpPr>
                <a:spLocks noChangeArrowheads="1"/>
              </p:cNvSpPr>
              <p:nvPr/>
            </p:nvSpPr>
            <p:spPr bwMode="gray">
              <a:xfrm>
                <a:off x="2975" y="3223"/>
                <a:ext cx="161" cy="2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55" name="Rectangle 1329"/>
              <p:cNvSpPr>
                <a:spLocks noChangeArrowheads="1"/>
              </p:cNvSpPr>
              <p:nvPr/>
            </p:nvSpPr>
            <p:spPr bwMode="gray">
              <a:xfrm>
                <a:off x="2975" y="3230"/>
                <a:ext cx="161" cy="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95" name="Group 1330"/>
            <p:cNvGrpSpPr>
              <a:grpSpLocks/>
            </p:cNvGrpSpPr>
            <p:nvPr/>
          </p:nvGrpSpPr>
          <p:grpSpPr bwMode="auto">
            <a:xfrm>
              <a:off x="3126" y="1540"/>
              <a:ext cx="200" cy="34"/>
              <a:chOff x="2974" y="3217"/>
              <a:chExt cx="162" cy="29"/>
            </a:xfrm>
          </p:grpSpPr>
          <p:grpSp>
            <p:nvGrpSpPr>
              <p:cNvPr id="250" name="Group 1331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sp>
              <p:nvSpPr>
                <p:cNvPr id="252" name="Oval 1332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53" name="Oval 1333"/>
                <p:cNvSpPr>
                  <a:spLocks noChangeArrowheads="1"/>
                </p:cNvSpPr>
                <p:nvPr/>
              </p:nvSpPr>
              <p:spPr bwMode="gray">
                <a:xfrm>
                  <a:off x="2975" y="3220"/>
                  <a:ext cx="161" cy="2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51" name="Oval 1334"/>
              <p:cNvSpPr>
                <a:spLocks noChangeArrowheads="1"/>
              </p:cNvSpPr>
              <p:nvPr/>
            </p:nvSpPr>
            <p:spPr bwMode="gray">
              <a:xfrm>
                <a:off x="2974" y="3217"/>
                <a:ext cx="162" cy="29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96" name="Freeform 1335"/>
            <p:cNvSpPr>
              <a:spLocks/>
            </p:cNvSpPr>
            <p:nvPr/>
          </p:nvSpPr>
          <p:spPr bwMode="gray">
            <a:xfrm>
              <a:off x="3147" y="1568"/>
              <a:ext cx="22" cy="6"/>
            </a:xfrm>
            <a:custGeom>
              <a:avLst/>
              <a:gdLst>
                <a:gd name="T0" fmla="*/ 0 w 123"/>
                <a:gd name="T1" fmla="*/ 0 h 36"/>
                <a:gd name="T2" fmla="*/ 1 w 123"/>
                <a:gd name="T3" fmla="*/ 0 h 36"/>
                <a:gd name="T4" fmla="*/ 3 w 123"/>
                <a:gd name="T5" fmla="*/ 0 h 36"/>
                <a:gd name="T6" fmla="*/ 4 w 123"/>
                <a:gd name="T7" fmla="*/ 0 h 36"/>
                <a:gd name="T8" fmla="*/ 4 w 123"/>
                <a:gd name="T9" fmla="*/ 1 h 36"/>
                <a:gd name="T10" fmla="*/ 3 w 123"/>
                <a:gd name="T11" fmla="*/ 1 h 36"/>
                <a:gd name="T12" fmla="*/ 2 w 123"/>
                <a:gd name="T13" fmla="*/ 1 h 36"/>
                <a:gd name="T14" fmla="*/ 0 w 123"/>
                <a:gd name="T15" fmla="*/ 0 h 36"/>
                <a:gd name="T16" fmla="*/ 0 w 123"/>
                <a:gd name="T17" fmla="*/ 0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3"/>
                <a:gd name="T28" fmla="*/ 0 h 36"/>
                <a:gd name="T29" fmla="*/ 123 w 123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3" h="36">
                  <a:moveTo>
                    <a:pt x="0" y="0"/>
                  </a:moveTo>
                  <a:lnTo>
                    <a:pt x="35" y="6"/>
                  </a:lnTo>
                  <a:lnTo>
                    <a:pt x="77" y="14"/>
                  </a:lnTo>
                  <a:lnTo>
                    <a:pt x="122" y="21"/>
                  </a:lnTo>
                  <a:lnTo>
                    <a:pt x="123" y="36"/>
                  </a:lnTo>
                  <a:lnTo>
                    <a:pt x="91" y="33"/>
                  </a:lnTo>
                  <a:lnTo>
                    <a:pt x="49" y="24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97" name="Group 1336"/>
            <p:cNvGrpSpPr>
              <a:grpSpLocks/>
            </p:cNvGrpSpPr>
            <p:nvPr/>
          </p:nvGrpSpPr>
          <p:grpSpPr bwMode="auto">
            <a:xfrm>
              <a:off x="3206" y="1543"/>
              <a:ext cx="41" cy="30"/>
              <a:chOff x="3039" y="3220"/>
              <a:chExt cx="33" cy="25"/>
            </a:xfrm>
          </p:grpSpPr>
          <p:grpSp>
            <p:nvGrpSpPr>
              <p:cNvPr id="235" name="Group 1337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237" name="Group 1338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13"/>
                  <a:chOff x="3039" y="3220"/>
                  <a:chExt cx="33" cy="13"/>
                </a:xfrm>
              </p:grpSpPr>
              <p:sp>
                <p:nvSpPr>
                  <p:cNvPr id="248" name="Oval 1339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3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9" name="Oval 1340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2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238" name="Freeform 1341"/>
                <p:cNvSpPr>
                  <a:spLocks/>
                </p:cNvSpPr>
                <p:nvPr/>
              </p:nvSpPr>
              <p:spPr bwMode="gray">
                <a:xfrm>
                  <a:off x="3042" y="3230"/>
                  <a:ext cx="27" cy="15"/>
                </a:xfrm>
                <a:custGeom>
                  <a:avLst/>
                  <a:gdLst>
                    <a:gd name="T0" fmla="*/ 0 w 189"/>
                    <a:gd name="T1" fmla="*/ 0 h 102"/>
                    <a:gd name="T2" fmla="*/ 0 w 189"/>
                    <a:gd name="T3" fmla="*/ 2 h 102"/>
                    <a:gd name="T4" fmla="*/ 1 w 189"/>
                    <a:gd name="T5" fmla="*/ 2 h 102"/>
                    <a:gd name="T6" fmla="*/ 3 w 189"/>
                    <a:gd name="T7" fmla="*/ 2 h 102"/>
                    <a:gd name="T8" fmla="*/ 4 w 189"/>
                    <a:gd name="T9" fmla="*/ 2 h 102"/>
                    <a:gd name="T10" fmla="*/ 3 w 189"/>
                    <a:gd name="T11" fmla="*/ 0 h 102"/>
                    <a:gd name="T12" fmla="*/ 0 w 189"/>
                    <a:gd name="T13" fmla="*/ 0 h 10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9"/>
                    <a:gd name="T22" fmla="*/ 0 h 102"/>
                    <a:gd name="T23" fmla="*/ 189 w 189"/>
                    <a:gd name="T24" fmla="*/ 102 h 10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9" h="102">
                      <a:moveTo>
                        <a:pt x="22" y="1"/>
                      </a:moveTo>
                      <a:lnTo>
                        <a:pt x="0" y="84"/>
                      </a:lnTo>
                      <a:lnTo>
                        <a:pt x="50" y="102"/>
                      </a:lnTo>
                      <a:lnTo>
                        <a:pt x="144" y="102"/>
                      </a:lnTo>
                      <a:lnTo>
                        <a:pt x="189" y="81"/>
                      </a:lnTo>
                      <a:lnTo>
                        <a:pt x="164" y="0"/>
                      </a:lnTo>
                      <a:lnTo>
                        <a:pt x="22" y="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9" name="Freeform 1342"/>
                <p:cNvSpPr>
                  <a:spLocks/>
                </p:cNvSpPr>
                <p:nvPr/>
              </p:nvSpPr>
              <p:spPr bwMode="gray">
                <a:xfrm>
                  <a:off x="3043" y="3230"/>
                  <a:ext cx="26" cy="14"/>
                </a:xfrm>
                <a:custGeom>
                  <a:avLst/>
                  <a:gdLst>
                    <a:gd name="T0" fmla="*/ 0 w 187"/>
                    <a:gd name="T1" fmla="*/ 0 h 97"/>
                    <a:gd name="T2" fmla="*/ 0 w 187"/>
                    <a:gd name="T3" fmla="*/ 2 h 97"/>
                    <a:gd name="T4" fmla="*/ 1 w 187"/>
                    <a:gd name="T5" fmla="*/ 2 h 97"/>
                    <a:gd name="T6" fmla="*/ 3 w 187"/>
                    <a:gd name="T7" fmla="*/ 2 h 97"/>
                    <a:gd name="T8" fmla="*/ 4 w 187"/>
                    <a:gd name="T9" fmla="*/ 2 h 97"/>
                    <a:gd name="T10" fmla="*/ 3 w 187"/>
                    <a:gd name="T11" fmla="*/ 0 h 97"/>
                    <a:gd name="T12" fmla="*/ 0 w 187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7"/>
                    <a:gd name="T22" fmla="*/ 0 h 97"/>
                    <a:gd name="T23" fmla="*/ 187 w 187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7" h="97">
                      <a:moveTo>
                        <a:pt x="19" y="0"/>
                      </a:moveTo>
                      <a:lnTo>
                        <a:pt x="0" y="79"/>
                      </a:lnTo>
                      <a:lnTo>
                        <a:pt x="53" y="97"/>
                      </a:lnTo>
                      <a:lnTo>
                        <a:pt x="141" y="97"/>
                      </a:lnTo>
                      <a:lnTo>
                        <a:pt x="187" y="78"/>
                      </a:lnTo>
                      <a:lnTo>
                        <a:pt x="159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240" name="Group 1343"/>
                <p:cNvGrpSpPr>
                  <a:grpSpLocks/>
                </p:cNvGrpSpPr>
                <p:nvPr/>
              </p:nvGrpSpPr>
              <p:grpSpPr bwMode="auto">
                <a:xfrm>
                  <a:off x="3045" y="3229"/>
                  <a:ext cx="21" cy="8"/>
                  <a:chOff x="3045" y="3229"/>
                  <a:chExt cx="21" cy="8"/>
                </a:xfrm>
              </p:grpSpPr>
              <p:sp>
                <p:nvSpPr>
                  <p:cNvPr id="245" name="Oval 1344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0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6" name="Oval 1345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7" name="Oval 1346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7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241" name="Group 1347"/>
                <p:cNvGrpSpPr>
                  <a:grpSpLocks/>
                </p:cNvGrpSpPr>
                <p:nvPr/>
              </p:nvGrpSpPr>
              <p:grpSpPr bwMode="auto">
                <a:xfrm>
                  <a:off x="3042" y="3235"/>
                  <a:ext cx="27" cy="10"/>
                  <a:chOff x="3042" y="3235"/>
                  <a:chExt cx="27" cy="10"/>
                </a:xfrm>
              </p:grpSpPr>
              <p:sp>
                <p:nvSpPr>
                  <p:cNvPr id="242" name="Oval 1348"/>
                  <p:cNvSpPr>
                    <a:spLocks noChangeArrowheads="1"/>
                  </p:cNvSpPr>
                  <p:nvPr/>
                </p:nvSpPr>
                <p:spPr bwMode="gray">
                  <a:xfrm>
                    <a:off x="3042" y="3236"/>
                    <a:ext cx="27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3" name="Oval 1349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6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4" name="Oval 1350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5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236" name="Oval 1351"/>
              <p:cNvSpPr>
                <a:spLocks noChangeArrowheads="1"/>
              </p:cNvSpPr>
              <p:nvPr/>
            </p:nvSpPr>
            <p:spPr bwMode="gray">
              <a:xfrm>
                <a:off x="3051" y="3231"/>
                <a:ext cx="9" cy="4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98" name="Rectangle 1352"/>
            <p:cNvSpPr>
              <a:spLocks noChangeArrowheads="1"/>
            </p:cNvSpPr>
            <p:nvPr/>
          </p:nvSpPr>
          <p:spPr bwMode="gray">
            <a:xfrm>
              <a:off x="3120" y="1576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99" name="Group 1355"/>
            <p:cNvGrpSpPr>
              <a:grpSpLocks/>
            </p:cNvGrpSpPr>
            <p:nvPr/>
          </p:nvGrpSpPr>
          <p:grpSpPr bwMode="auto">
            <a:xfrm>
              <a:off x="4382" y="1829"/>
              <a:ext cx="192" cy="42"/>
              <a:chOff x="4956" y="1960"/>
              <a:chExt cx="257" cy="48"/>
            </a:xfrm>
          </p:grpSpPr>
          <p:sp>
            <p:nvSpPr>
              <p:cNvPr id="233" name="Oval 1356"/>
              <p:cNvSpPr>
                <a:spLocks noChangeArrowheads="1"/>
              </p:cNvSpPr>
              <p:nvPr/>
            </p:nvSpPr>
            <p:spPr bwMode="gray">
              <a:xfrm>
                <a:off x="4956" y="1960"/>
                <a:ext cx="257" cy="48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34" name="Oval 1357"/>
              <p:cNvSpPr>
                <a:spLocks noChangeArrowheads="1"/>
              </p:cNvSpPr>
              <p:nvPr/>
            </p:nvSpPr>
            <p:spPr bwMode="gray">
              <a:xfrm>
                <a:off x="4957" y="1961"/>
                <a:ext cx="256" cy="40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200" name="Freeform 1358"/>
            <p:cNvSpPr>
              <a:spLocks/>
            </p:cNvSpPr>
            <p:nvPr/>
          </p:nvSpPr>
          <p:spPr bwMode="gray">
            <a:xfrm>
              <a:off x="4401" y="1857"/>
              <a:ext cx="21" cy="7"/>
            </a:xfrm>
            <a:custGeom>
              <a:avLst/>
              <a:gdLst>
                <a:gd name="T0" fmla="*/ 0 w 114"/>
                <a:gd name="T1" fmla="*/ 0 h 45"/>
                <a:gd name="T2" fmla="*/ 1 w 114"/>
                <a:gd name="T3" fmla="*/ 0 h 45"/>
                <a:gd name="T4" fmla="*/ 2 w 114"/>
                <a:gd name="T5" fmla="*/ 0 h 45"/>
                <a:gd name="T6" fmla="*/ 4 w 114"/>
                <a:gd name="T7" fmla="*/ 1 h 45"/>
                <a:gd name="T8" fmla="*/ 4 w 114"/>
                <a:gd name="T9" fmla="*/ 1 h 45"/>
                <a:gd name="T10" fmla="*/ 3 w 114"/>
                <a:gd name="T11" fmla="*/ 1 h 45"/>
                <a:gd name="T12" fmla="*/ 2 w 114"/>
                <a:gd name="T13" fmla="*/ 1 h 45"/>
                <a:gd name="T14" fmla="*/ 0 w 114"/>
                <a:gd name="T15" fmla="*/ 0 h 45"/>
                <a:gd name="T16" fmla="*/ 0 w 114"/>
                <a:gd name="T17" fmla="*/ 0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"/>
                <a:gd name="T28" fmla="*/ 0 h 45"/>
                <a:gd name="T29" fmla="*/ 114 w 114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" h="45">
                  <a:moveTo>
                    <a:pt x="0" y="0"/>
                  </a:moveTo>
                  <a:lnTo>
                    <a:pt x="33" y="9"/>
                  </a:lnTo>
                  <a:lnTo>
                    <a:pt x="71" y="17"/>
                  </a:lnTo>
                  <a:lnTo>
                    <a:pt x="112" y="26"/>
                  </a:lnTo>
                  <a:lnTo>
                    <a:pt x="114" y="45"/>
                  </a:lnTo>
                  <a:lnTo>
                    <a:pt x="85" y="39"/>
                  </a:lnTo>
                  <a:lnTo>
                    <a:pt x="47" y="29"/>
                  </a:lnTo>
                  <a:lnTo>
                    <a:pt x="3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Oval 1359"/>
            <p:cNvSpPr>
              <a:spLocks noChangeArrowheads="1"/>
            </p:cNvSpPr>
            <p:nvPr/>
          </p:nvSpPr>
          <p:spPr bwMode="gray">
            <a:xfrm>
              <a:off x="4383" y="1827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2" name="Rectangle 1360"/>
            <p:cNvSpPr>
              <a:spLocks noChangeArrowheads="1"/>
            </p:cNvSpPr>
            <p:nvPr/>
          </p:nvSpPr>
          <p:spPr bwMode="gray">
            <a:xfrm>
              <a:off x="4383" y="1580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3" name="Oval 1362"/>
            <p:cNvSpPr>
              <a:spLocks noChangeArrowheads="1"/>
            </p:cNvSpPr>
            <p:nvPr/>
          </p:nvSpPr>
          <p:spPr bwMode="gray">
            <a:xfrm>
              <a:off x="4383" y="1565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4" name="Oval 1363"/>
            <p:cNvSpPr>
              <a:spLocks noChangeArrowheads="1"/>
            </p:cNvSpPr>
            <p:nvPr/>
          </p:nvSpPr>
          <p:spPr bwMode="gray">
            <a:xfrm>
              <a:off x="4383" y="156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5" name="Oval 1364"/>
            <p:cNvSpPr>
              <a:spLocks noChangeArrowheads="1"/>
            </p:cNvSpPr>
            <p:nvPr/>
          </p:nvSpPr>
          <p:spPr bwMode="gray">
            <a:xfrm>
              <a:off x="4383" y="1559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6" name="Oval 1366"/>
            <p:cNvSpPr>
              <a:spLocks noChangeArrowheads="1"/>
            </p:cNvSpPr>
            <p:nvPr/>
          </p:nvSpPr>
          <p:spPr bwMode="gray">
            <a:xfrm>
              <a:off x="4382" y="1549"/>
              <a:ext cx="191" cy="32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7" name="Rectangle 1367"/>
            <p:cNvSpPr>
              <a:spLocks noChangeArrowheads="1"/>
            </p:cNvSpPr>
            <p:nvPr/>
          </p:nvSpPr>
          <p:spPr bwMode="gray">
            <a:xfrm>
              <a:off x="4382" y="1557"/>
              <a:ext cx="191" cy="8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208" name="Group 1369"/>
            <p:cNvGrpSpPr>
              <a:grpSpLocks/>
            </p:cNvGrpSpPr>
            <p:nvPr/>
          </p:nvGrpSpPr>
          <p:grpSpPr bwMode="auto">
            <a:xfrm>
              <a:off x="4382" y="1543"/>
              <a:ext cx="191" cy="31"/>
              <a:chOff x="4956" y="1634"/>
              <a:chExt cx="256" cy="35"/>
            </a:xfrm>
          </p:grpSpPr>
          <p:sp>
            <p:nvSpPr>
              <p:cNvPr id="231" name="Oval 1370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32" name="Oval 1371"/>
              <p:cNvSpPr>
                <a:spLocks noChangeArrowheads="1"/>
              </p:cNvSpPr>
              <p:nvPr/>
            </p:nvSpPr>
            <p:spPr bwMode="gray">
              <a:xfrm>
                <a:off x="4956" y="1637"/>
                <a:ext cx="256" cy="32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209" name="Oval 1372"/>
            <p:cNvSpPr>
              <a:spLocks noChangeArrowheads="1"/>
            </p:cNvSpPr>
            <p:nvPr/>
          </p:nvSpPr>
          <p:spPr bwMode="gray">
            <a:xfrm>
              <a:off x="4382" y="1543"/>
              <a:ext cx="190" cy="31"/>
            </a:xfrm>
            <a:prstGeom prst="ellipse">
              <a:avLst/>
            </a:prstGeom>
            <a:solidFill>
              <a:srgbClr val="F9AE00"/>
            </a:solidFill>
            <a:ln w="3175">
              <a:solidFill>
                <a:srgbClr val="DFDFF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10" name="Freeform 1373"/>
            <p:cNvSpPr>
              <a:spLocks/>
            </p:cNvSpPr>
            <p:nvPr/>
          </p:nvSpPr>
          <p:spPr bwMode="gray">
            <a:xfrm>
              <a:off x="4401" y="1570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11" name="Group 1375"/>
            <p:cNvGrpSpPr>
              <a:grpSpLocks/>
            </p:cNvGrpSpPr>
            <p:nvPr/>
          </p:nvGrpSpPr>
          <p:grpSpPr bwMode="auto">
            <a:xfrm>
              <a:off x="4459" y="1547"/>
              <a:ext cx="38" cy="27"/>
              <a:chOff x="5059" y="1638"/>
              <a:chExt cx="51" cy="31"/>
            </a:xfrm>
          </p:grpSpPr>
          <p:grpSp>
            <p:nvGrpSpPr>
              <p:cNvPr id="218" name="Group 1376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15"/>
                <a:chOff x="5059" y="1638"/>
                <a:chExt cx="51" cy="15"/>
              </a:xfrm>
            </p:grpSpPr>
            <p:sp>
              <p:nvSpPr>
                <p:cNvPr id="229" name="Oval 1377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30" name="Oval 1378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4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19" name="Freeform 1379"/>
              <p:cNvSpPr>
                <a:spLocks/>
              </p:cNvSpPr>
              <p:nvPr/>
            </p:nvSpPr>
            <p:spPr bwMode="gray">
              <a:xfrm>
                <a:off x="5064" y="1650"/>
                <a:ext cx="43" cy="19"/>
              </a:xfrm>
              <a:custGeom>
                <a:avLst/>
                <a:gdLst>
                  <a:gd name="T0" fmla="*/ 1 w 172"/>
                  <a:gd name="T1" fmla="*/ 0 h 111"/>
                  <a:gd name="T2" fmla="*/ 0 w 172"/>
                  <a:gd name="T3" fmla="*/ 3 h 111"/>
                  <a:gd name="T4" fmla="*/ 3 w 172"/>
                  <a:gd name="T5" fmla="*/ 3 h 111"/>
                  <a:gd name="T6" fmla="*/ 8 w 172"/>
                  <a:gd name="T7" fmla="*/ 3 h 111"/>
                  <a:gd name="T8" fmla="*/ 11 w 172"/>
                  <a:gd name="T9" fmla="*/ 3 h 111"/>
                  <a:gd name="T10" fmla="*/ 9 w 172"/>
                  <a:gd name="T11" fmla="*/ 0 h 111"/>
                  <a:gd name="T12" fmla="*/ 1 w 172"/>
                  <a:gd name="T13" fmla="*/ 0 h 1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2"/>
                  <a:gd name="T22" fmla="*/ 0 h 111"/>
                  <a:gd name="T23" fmla="*/ 172 w 172"/>
                  <a:gd name="T24" fmla="*/ 111 h 1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2" h="111">
                    <a:moveTo>
                      <a:pt x="20" y="1"/>
                    </a:moveTo>
                    <a:lnTo>
                      <a:pt x="0" y="92"/>
                    </a:lnTo>
                    <a:lnTo>
                      <a:pt x="46" y="111"/>
                    </a:lnTo>
                    <a:lnTo>
                      <a:pt x="131" y="111"/>
                    </a:lnTo>
                    <a:lnTo>
                      <a:pt x="172" y="89"/>
                    </a:lnTo>
                    <a:lnTo>
                      <a:pt x="149" y="0"/>
                    </a:lnTo>
                    <a:lnTo>
                      <a:pt x="20" y="1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0" name="Freeform 1380"/>
              <p:cNvSpPr>
                <a:spLocks/>
              </p:cNvSpPr>
              <p:nvPr/>
            </p:nvSpPr>
            <p:spPr bwMode="gray">
              <a:xfrm>
                <a:off x="5064" y="1650"/>
                <a:ext cx="43" cy="18"/>
              </a:xfrm>
              <a:custGeom>
                <a:avLst/>
                <a:gdLst>
                  <a:gd name="T0" fmla="*/ 1 w 170"/>
                  <a:gd name="T1" fmla="*/ 0 h 106"/>
                  <a:gd name="T2" fmla="*/ 0 w 170"/>
                  <a:gd name="T3" fmla="*/ 3 h 106"/>
                  <a:gd name="T4" fmla="*/ 3 w 170"/>
                  <a:gd name="T5" fmla="*/ 3 h 106"/>
                  <a:gd name="T6" fmla="*/ 8 w 170"/>
                  <a:gd name="T7" fmla="*/ 3 h 106"/>
                  <a:gd name="T8" fmla="*/ 11 w 170"/>
                  <a:gd name="T9" fmla="*/ 2 h 106"/>
                  <a:gd name="T10" fmla="*/ 9 w 170"/>
                  <a:gd name="T11" fmla="*/ 0 h 106"/>
                  <a:gd name="T12" fmla="*/ 1 w 170"/>
                  <a:gd name="T13" fmla="*/ 0 h 10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0"/>
                  <a:gd name="T22" fmla="*/ 0 h 106"/>
                  <a:gd name="T23" fmla="*/ 170 w 170"/>
                  <a:gd name="T24" fmla="*/ 106 h 10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0" h="106">
                    <a:moveTo>
                      <a:pt x="17" y="0"/>
                    </a:moveTo>
                    <a:lnTo>
                      <a:pt x="0" y="87"/>
                    </a:lnTo>
                    <a:lnTo>
                      <a:pt x="48" y="106"/>
                    </a:lnTo>
                    <a:lnTo>
                      <a:pt x="128" y="106"/>
                    </a:lnTo>
                    <a:lnTo>
                      <a:pt x="170" y="85"/>
                    </a:lnTo>
                    <a:lnTo>
                      <a:pt x="145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21" name="Group 1381"/>
              <p:cNvGrpSpPr>
                <a:grpSpLocks/>
              </p:cNvGrpSpPr>
              <p:nvPr/>
            </p:nvGrpSpPr>
            <p:grpSpPr bwMode="auto">
              <a:xfrm>
                <a:off x="5069" y="1650"/>
                <a:ext cx="31" cy="8"/>
                <a:chOff x="5069" y="1650"/>
                <a:chExt cx="31" cy="8"/>
              </a:xfrm>
            </p:grpSpPr>
            <p:sp>
              <p:nvSpPr>
                <p:cNvPr id="226" name="Oval 1382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0" cy="8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27" name="Oval 1383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8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28" name="Oval 1384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7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222" name="Group 1385"/>
              <p:cNvGrpSpPr>
                <a:grpSpLocks/>
              </p:cNvGrpSpPr>
              <p:nvPr/>
            </p:nvGrpSpPr>
            <p:grpSpPr bwMode="auto">
              <a:xfrm>
                <a:off x="5064" y="1658"/>
                <a:ext cx="41" cy="10"/>
                <a:chOff x="5064" y="1658"/>
                <a:chExt cx="41" cy="10"/>
              </a:xfrm>
            </p:grpSpPr>
            <p:sp>
              <p:nvSpPr>
                <p:cNvPr id="223" name="Oval 1386"/>
                <p:cNvSpPr>
                  <a:spLocks noChangeArrowheads="1"/>
                </p:cNvSpPr>
                <p:nvPr/>
              </p:nvSpPr>
              <p:spPr bwMode="gray">
                <a:xfrm>
                  <a:off x="5064" y="1659"/>
                  <a:ext cx="40" cy="9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24" name="Oval 1387"/>
                <p:cNvSpPr>
                  <a:spLocks noChangeArrowheads="1"/>
                </p:cNvSpPr>
                <p:nvPr/>
              </p:nvSpPr>
              <p:spPr bwMode="gray">
                <a:xfrm>
                  <a:off x="5066" y="1659"/>
                  <a:ext cx="39" cy="9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25" name="Oval 1388"/>
                <p:cNvSpPr>
                  <a:spLocks noChangeArrowheads="1"/>
                </p:cNvSpPr>
                <p:nvPr/>
              </p:nvSpPr>
              <p:spPr bwMode="gray">
                <a:xfrm>
                  <a:off x="5066" y="1658"/>
                  <a:ext cx="39" cy="10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12" name="Oval 1389"/>
            <p:cNvSpPr>
              <a:spLocks noChangeArrowheads="1"/>
            </p:cNvSpPr>
            <p:nvPr/>
          </p:nvSpPr>
          <p:spPr bwMode="gray">
            <a:xfrm>
              <a:off x="4473" y="1559"/>
              <a:ext cx="10" cy="3"/>
            </a:xfrm>
            <a:prstGeom prst="ellipse">
              <a:avLst/>
            </a:prstGeom>
            <a:solidFill>
              <a:srgbClr val="F9AE00"/>
            </a:solidFill>
            <a:ln w="3175">
              <a:solidFill>
                <a:srgbClr val="BFBFD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13" name="Rectangle 1390"/>
            <p:cNvSpPr>
              <a:spLocks noChangeArrowheads="1"/>
            </p:cNvSpPr>
            <p:nvPr/>
          </p:nvSpPr>
          <p:spPr bwMode="gray">
            <a:xfrm>
              <a:off x="4350" y="1591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aphicFrame>
          <p:nvGraphicFramePr>
            <p:cNvPr id="214" name="Object 1392"/>
            <p:cNvGraphicFramePr>
              <a:graphicFrameLocks/>
            </p:cNvGraphicFramePr>
            <p:nvPr/>
          </p:nvGraphicFramePr>
          <p:xfrm>
            <a:off x="3639" y="1539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63" name="Clip" r:id="rId21" imgW="1898640" imgH="3657600" progId="MS_ClipArt_Gallery.2">
                    <p:embed/>
                  </p:oleObj>
                </mc:Choice>
                <mc:Fallback>
                  <p:oleObj name="Clip" r:id="rId21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639" y="1539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15" name="Rectangle 1393"/>
            <p:cNvSpPr>
              <a:spLocks noChangeArrowheads="1"/>
            </p:cNvSpPr>
            <p:nvPr/>
          </p:nvSpPr>
          <p:spPr bwMode="gray">
            <a:xfrm>
              <a:off x="3625" y="1566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216" name="Object 1395"/>
            <p:cNvGraphicFramePr>
              <a:graphicFrameLocks/>
            </p:cNvGraphicFramePr>
            <p:nvPr/>
          </p:nvGraphicFramePr>
          <p:xfrm>
            <a:off x="4119" y="1543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9164" name="Clip" r:id="rId23" imgW="1898640" imgH="3657600" progId="MS_ClipArt_Gallery.2">
                    <p:embed/>
                  </p:oleObj>
                </mc:Choice>
                <mc:Fallback>
                  <p:oleObj name="Clip" r:id="rId23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2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119" y="1543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17" name="Rectangle 1396"/>
            <p:cNvSpPr>
              <a:spLocks noChangeArrowheads="1"/>
            </p:cNvSpPr>
            <p:nvPr/>
          </p:nvSpPr>
          <p:spPr bwMode="gray">
            <a:xfrm>
              <a:off x="4105" y="1570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</p:grpSp>
      <p:sp>
        <p:nvSpPr>
          <p:cNvPr id="1331" name="Text Box 1397"/>
          <p:cNvSpPr txBox="1">
            <a:spLocks noChangeArrowheads="1"/>
          </p:cNvSpPr>
          <p:nvPr/>
        </p:nvSpPr>
        <p:spPr bwMode="gray">
          <a:xfrm>
            <a:off x="838200" y="5537200"/>
            <a:ext cx="1765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altLang="en-US" sz="2000">
                <a:solidFill>
                  <a:schemeClr val="tx1"/>
                </a:solidFill>
              </a:rPr>
              <a:t>Household 4 -</a:t>
            </a:r>
          </a:p>
        </p:txBody>
      </p:sp>
      <p:sp>
        <p:nvSpPr>
          <p:cNvPr id="1332" name="Text Box 1398"/>
          <p:cNvSpPr txBox="1">
            <a:spLocks noChangeArrowheads="1"/>
          </p:cNvSpPr>
          <p:nvPr/>
        </p:nvSpPr>
        <p:spPr bwMode="gray">
          <a:xfrm>
            <a:off x="838200" y="3276600"/>
            <a:ext cx="1765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altLang="en-US" sz="2000">
                <a:solidFill>
                  <a:schemeClr val="tx1"/>
                </a:solidFill>
              </a:rPr>
              <a:t>Household 1 -</a:t>
            </a:r>
          </a:p>
        </p:txBody>
      </p:sp>
      <p:sp>
        <p:nvSpPr>
          <p:cNvPr id="1333" name="Text Box 1399"/>
          <p:cNvSpPr txBox="1">
            <a:spLocks noChangeArrowheads="1"/>
          </p:cNvSpPr>
          <p:nvPr/>
        </p:nvSpPr>
        <p:spPr bwMode="gray">
          <a:xfrm>
            <a:off x="838200" y="4051300"/>
            <a:ext cx="1765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altLang="en-US" sz="2000">
                <a:solidFill>
                  <a:schemeClr val="tx1"/>
                </a:solidFill>
              </a:rPr>
              <a:t>Household 2 -</a:t>
            </a:r>
          </a:p>
        </p:txBody>
      </p:sp>
      <p:sp>
        <p:nvSpPr>
          <p:cNvPr id="1334" name="Text Box 1400"/>
          <p:cNvSpPr txBox="1">
            <a:spLocks noChangeArrowheads="1"/>
          </p:cNvSpPr>
          <p:nvPr/>
        </p:nvSpPr>
        <p:spPr bwMode="gray">
          <a:xfrm>
            <a:off x="838200" y="4737100"/>
            <a:ext cx="1765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altLang="en-US" sz="2000">
                <a:solidFill>
                  <a:schemeClr val="tx1"/>
                </a:solidFill>
              </a:rPr>
              <a:t>Household 3 -</a:t>
            </a:r>
          </a:p>
        </p:txBody>
      </p:sp>
      <p:sp>
        <p:nvSpPr>
          <p:cNvPr id="1335" name="Text Box 1408"/>
          <p:cNvSpPr txBox="1">
            <a:spLocks noChangeArrowheads="1"/>
          </p:cNvSpPr>
          <p:nvPr/>
        </p:nvSpPr>
        <p:spPr bwMode="auto">
          <a:xfrm>
            <a:off x="838200" y="2514600"/>
            <a:ext cx="64008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altLang="en-US" sz="2000" i="1">
                <a:solidFill>
                  <a:schemeClr val="tx1"/>
                </a:solidFill>
              </a:rPr>
              <a:t>Category purchases over the past 52 or 104 weeks</a:t>
            </a:r>
          </a:p>
        </p:txBody>
      </p:sp>
      <p:sp>
        <p:nvSpPr>
          <p:cNvPr id="1336" name="Rectangle 1401"/>
          <p:cNvSpPr>
            <a:spLocks noChangeArrowheads="1"/>
          </p:cNvSpPr>
          <p:nvPr/>
        </p:nvSpPr>
        <p:spPr bwMode="gray">
          <a:xfrm>
            <a:off x="352425" y="1447800"/>
            <a:ext cx="701040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20000"/>
              </a:spcBef>
              <a:buClr>
                <a:schemeClr val="tx1"/>
              </a:buClr>
              <a:buFont typeface="Wingdings 3" pitchFamily="18" charset="2"/>
              <a:buChar char=""/>
            </a:pPr>
            <a:r>
              <a:rPr lang="en-US" altLang="en-US" sz="2000" dirty="0">
                <a:solidFill>
                  <a:schemeClr val="tx1"/>
                </a:solidFill>
              </a:rPr>
              <a:t>For each IRI Panel household, make a chronological list of each category SKU purchased.</a:t>
            </a:r>
          </a:p>
        </p:txBody>
      </p:sp>
      <p:sp>
        <p:nvSpPr>
          <p:cNvPr id="1337" name="Rectangle 1402"/>
          <p:cNvSpPr>
            <a:spLocks noGrp="1" noChangeArrowheads="1"/>
          </p:cNvSpPr>
          <p:nvPr>
            <p:ph type="title"/>
          </p:nvPr>
        </p:nvSpPr>
        <p:spPr>
          <a:xfrm>
            <a:off x="127000" y="304800"/>
            <a:ext cx="8407400" cy="519113"/>
          </a:xfrm>
          <a:noFill/>
        </p:spPr>
        <p:txBody>
          <a:bodyPr anchor="ctr"/>
          <a:lstStyle/>
          <a:p>
            <a:pPr eaLnBrk="1" hangingPunct="1"/>
            <a:r>
              <a:rPr lang="en-US" altLang="en-US"/>
              <a:t>Step 1.  Construct the Input Database</a:t>
            </a:r>
          </a:p>
        </p:txBody>
      </p:sp>
      <p:pic>
        <p:nvPicPr>
          <p:cNvPr id="1338" name="Picture 1407" descr="scanhand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814" y="553243"/>
            <a:ext cx="1301750" cy="178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40" name="Object 13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2018321"/>
              </p:ext>
            </p:extLst>
          </p:nvPr>
        </p:nvGraphicFramePr>
        <p:xfrm>
          <a:off x="3289608" y="3200400"/>
          <a:ext cx="319088" cy="53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65" name="Clip" r:id="rId26" imgW="1898640" imgH="3657600" progId="MS_ClipArt_Gallery.2">
                  <p:embed/>
                </p:oleObj>
              </mc:Choice>
              <mc:Fallback>
                <p:oleObj name="Clip" r:id="rId26" imgW="1898640" imgH="3657600" progId="MS_ClipArt_Gallery.2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289608" y="3200400"/>
                        <a:ext cx="319088" cy="539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41" name="Rectangle 1313"/>
          <p:cNvSpPr>
            <a:spLocks noChangeArrowheads="1"/>
          </p:cNvSpPr>
          <p:nvPr/>
        </p:nvSpPr>
        <p:spPr bwMode="gray">
          <a:xfrm>
            <a:off x="3267383" y="3243263"/>
            <a:ext cx="325438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buSzTx/>
              <a:buFontTx/>
              <a:buNone/>
            </a:pPr>
            <a:r>
              <a:rPr lang="en-US" altLang="en-US" sz="2000" dirty="0">
                <a:latin typeface="Times New Roman" pitchFamily="18" charset="0"/>
              </a:rPr>
              <a:t>P</a:t>
            </a:r>
          </a:p>
        </p:txBody>
      </p:sp>
    </p:spTree>
    <p:extLst>
      <p:ext uri="{BB962C8B-B14F-4D97-AF65-F5344CB8AC3E}">
        <p14:creationId xmlns:p14="http://schemas.microsoft.com/office/powerpoint/2010/main" val="19726098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972716" y="3222174"/>
            <a:ext cx="5321300" cy="2814638"/>
            <a:chOff x="2064" y="1539"/>
            <a:chExt cx="3352" cy="1773"/>
          </a:xfrm>
        </p:grpSpPr>
        <p:graphicFrame>
          <p:nvGraphicFramePr>
            <p:cNvPr id="5" name="Object 4"/>
            <p:cNvGraphicFramePr>
              <a:graphicFrameLocks/>
            </p:cNvGraphicFramePr>
            <p:nvPr/>
          </p:nvGraphicFramePr>
          <p:xfrm>
            <a:off x="2078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26" name="Clip" r:id="rId3" imgW="1898640" imgH="3657600" progId="MS_ClipArt_Gallery.2">
                    <p:embed/>
                  </p:oleObj>
                </mc:Choice>
                <mc:Fallback>
                  <p:oleObj name="Clip" r:id="rId3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078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2064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7" name="Object 6"/>
            <p:cNvGraphicFramePr>
              <a:graphicFrameLocks/>
            </p:cNvGraphicFramePr>
            <p:nvPr/>
          </p:nvGraphicFramePr>
          <p:xfrm>
            <a:off x="2340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27" name="Clip" r:id="rId5" imgW="1898640" imgH="3657600" progId="MS_ClipArt_Gallery.2">
                    <p:embed/>
                  </p:oleObj>
                </mc:Choice>
                <mc:Fallback>
                  <p:oleObj name="Clip" r:id="rId5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340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2326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9" name="Object 8"/>
            <p:cNvGraphicFramePr>
              <a:graphicFrameLocks/>
            </p:cNvGraphicFramePr>
            <p:nvPr/>
          </p:nvGraphicFramePr>
          <p:xfrm>
            <a:off x="3380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28" name="Clip" r:id="rId7" imgW="1898640" imgH="3657600" progId="MS_ClipArt_Gallery.2">
                    <p:embed/>
                  </p:oleObj>
                </mc:Choice>
                <mc:Fallback>
                  <p:oleObj name="Clip" r:id="rId7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380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" name="Rectangle 9"/>
            <p:cNvSpPr>
              <a:spLocks noChangeArrowheads="1"/>
            </p:cNvSpPr>
            <p:nvPr/>
          </p:nvSpPr>
          <p:spPr bwMode="gray">
            <a:xfrm>
              <a:off x="3366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11" name="Object 10"/>
            <p:cNvGraphicFramePr>
              <a:graphicFrameLocks/>
            </p:cNvGraphicFramePr>
            <p:nvPr/>
          </p:nvGraphicFramePr>
          <p:xfrm>
            <a:off x="2598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29" name="Clip" r:id="rId9" imgW="1898640" imgH="3657600" progId="MS_ClipArt_Gallery.2">
                    <p:embed/>
                  </p:oleObj>
                </mc:Choice>
                <mc:Fallback>
                  <p:oleObj name="Clip" r:id="rId9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598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2" name="Rectangle 11"/>
            <p:cNvSpPr>
              <a:spLocks noChangeArrowheads="1"/>
            </p:cNvSpPr>
            <p:nvPr/>
          </p:nvSpPr>
          <p:spPr bwMode="gray">
            <a:xfrm>
              <a:off x="2584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13" name="Object 12"/>
            <p:cNvGraphicFramePr>
              <a:graphicFrameLocks/>
            </p:cNvGraphicFramePr>
            <p:nvPr/>
          </p:nvGraphicFramePr>
          <p:xfrm>
            <a:off x="3872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0" name="Clip" r:id="rId11" imgW="1898640" imgH="3657600" progId="MS_ClipArt_Gallery.2">
                    <p:embed/>
                  </p:oleObj>
                </mc:Choice>
                <mc:Fallback>
                  <p:oleObj name="Clip" r:id="rId11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872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4" name="Rectangle 13"/>
            <p:cNvSpPr>
              <a:spLocks noChangeArrowheads="1"/>
            </p:cNvSpPr>
            <p:nvPr/>
          </p:nvSpPr>
          <p:spPr bwMode="gray">
            <a:xfrm>
              <a:off x="3858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15" name="Object 14"/>
            <p:cNvGraphicFramePr>
              <a:graphicFrameLocks/>
            </p:cNvGraphicFramePr>
            <p:nvPr/>
          </p:nvGraphicFramePr>
          <p:xfrm>
            <a:off x="5215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1" name="Clip" r:id="rId13" imgW="1898640" imgH="3657600" progId="MS_ClipArt_Gallery.2">
                    <p:embed/>
                  </p:oleObj>
                </mc:Choice>
                <mc:Fallback>
                  <p:oleObj name="Clip" r:id="rId13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5215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6" name="Rectangle 15"/>
            <p:cNvSpPr>
              <a:spLocks noChangeArrowheads="1"/>
            </p:cNvSpPr>
            <p:nvPr/>
          </p:nvSpPr>
          <p:spPr bwMode="gray">
            <a:xfrm>
              <a:off x="5201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pSp>
          <p:nvGrpSpPr>
            <p:cNvPr id="17" name="Group 16"/>
            <p:cNvGrpSpPr>
              <a:grpSpLocks/>
            </p:cNvGrpSpPr>
            <p:nvPr/>
          </p:nvGrpSpPr>
          <p:grpSpPr bwMode="auto">
            <a:xfrm>
              <a:off x="3126" y="2968"/>
              <a:ext cx="200" cy="339"/>
              <a:chOff x="2974" y="3217"/>
              <a:chExt cx="162" cy="291"/>
            </a:xfrm>
          </p:grpSpPr>
          <p:grpSp>
            <p:nvGrpSpPr>
              <p:cNvPr id="1295" name="Group 17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327" name="Group 18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329" name="Oval 19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330" name="Oval 2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328" name="Freeform 21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296" name="Oval 22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297" name="Rectangle 23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98" name="Group 24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325" name="Oval 25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326" name="Oval 26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99" name="Oval 27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300" name="Group 28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323" name="Oval 29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324" name="Rectangle 30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301" name="Group 31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319" name="Group 32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321" name="Oval 33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322" name="Oval 3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320" name="Oval 35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302" name="Freeform 36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303" name="Group 37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304" name="Group 38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306" name="Group 39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317" name="Oval 4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8" name="Oval 4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307" name="Freeform 42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08" name="Freeform 43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309" name="Group 44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314" name="Oval 4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5" name="Oval 4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6" name="Oval 4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310" name="Group 48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311" name="Oval 4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2" name="Oval 5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313" name="Oval 5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305" name="Oval 52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8" name="Rectangle 53"/>
            <p:cNvSpPr>
              <a:spLocks noChangeArrowheads="1"/>
            </p:cNvSpPr>
            <p:nvPr/>
          </p:nvSpPr>
          <p:spPr bwMode="gray">
            <a:xfrm>
              <a:off x="3120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aphicFrame>
          <p:nvGraphicFramePr>
            <p:cNvPr id="19" name="Object 54"/>
            <p:cNvGraphicFramePr>
              <a:graphicFrameLocks/>
            </p:cNvGraphicFramePr>
            <p:nvPr/>
          </p:nvGraphicFramePr>
          <p:xfrm>
            <a:off x="4142" y="296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2" name="Clip" r:id="rId15" imgW="1898640" imgH="3657600" progId="MS_ClipArt_Gallery.2">
                    <p:embed/>
                  </p:oleObj>
                </mc:Choice>
                <mc:Fallback>
                  <p:oleObj name="Clip" r:id="rId15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142" y="296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0" name="Rectangle 55"/>
            <p:cNvSpPr>
              <a:spLocks noChangeArrowheads="1"/>
            </p:cNvSpPr>
            <p:nvPr/>
          </p:nvSpPr>
          <p:spPr bwMode="gray">
            <a:xfrm>
              <a:off x="4128" y="299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pSp>
          <p:nvGrpSpPr>
            <p:cNvPr id="21" name="Group 56"/>
            <p:cNvGrpSpPr>
              <a:grpSpLocks/>
            </p:cNvGrpSpPr>
            <p:nvPr/>
          </p:nvGrpSpPr>
          <p:grpSpPr bwMode="auto">
            <a:xfrm>
              <a:off x="4396" y="2968"/>
              <a:ext cx="200" cy="339"/>
              <a:chOff x="2974" y="3217"/>
              <a:chExt cx="162" cy="291"/>
            </a:xfrm>
          </p:grpSpPr>
          <p:grpSp>
            <p:nvGrpSpPr>
              <p:cNvPr id="1259" name="Group 57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291" name="Group 58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293" name="Oval 59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94" name="Oval 6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92" name="Freeform 61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260" name="Oval 62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261" name="Rectangle 63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62" name="Group 64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289" name="Oval 65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90" name="Oval 66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63" name="Oval 67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64" name="Group 68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287" name="Oval 69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88" name="Rectangle 70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265" name="Group 71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283" name="Group 72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285" name="Oval 73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86" name="Oval 7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84" name="Oval 75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66" name="Freeform 76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267" name="Group 77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268" name="Group 78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270" name="Group 79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281" name="Oval 8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82" name="Oval 8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271" name="Freeform 82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72" name="Freeform 83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273" name="Group 84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278" name="Oval 8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79" name="Oval 8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80" name="Oval 8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274" name="Group 88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275" name="Oval 8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76" name="Oval 9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77" name="Oval 9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269" name="Oval 92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2" name="Rectangle 93"/>
            <p:cNvSpPr>
              <a:spLocks noChangeArrowheads="1"/>
            </p:cNvSpPr>
            <p:nvPr/>
          </p:nvSpPr>
          <p:spPr bwMode="gray">
            <a:xfrm>
              <a:off x="4390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23" name="Group 94"/>
            <p:cNvGrpSpPr>
              <a:grpSpLocks/>
            </p:cNvGrpSpPr>
            <p:nvPr/>
          </p:nvGrpSpPr>
          <p:grpSpPr bwMode="auto">
            <a:xfrm>
              <a:off x="3622" y="2973"/>
              <a:ext cx="200" cy="339"/>
              <a:chOff x="2974" y="3217"/>
              <a:chExt cx="162" cy="291"/>
            </a:xfrm>
          </p:grpSpPr>
          <p:grpSp>
            <p:nvGrpSpPr>
              <p:cNvPr id="1223" name="Group 95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255" name="Group 96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257" name="Oval 97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58" name="Oval 98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56" name="Freeform 99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224" name="Oval 100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225" name="Rectangle 101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26" name="Group 102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253" name="Oval 103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54" name="Oval 104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27" name="Oval 105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228" name="Group 106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251" name="Oval 107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52" name="Rectangle 108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229" name="Group 109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247" name="Group 110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249" name="Oval 111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50" name="Oval 112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48" name="Oval 113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230" name="Freeform 114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231" name="Group 115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232" name="Group 116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234" name="Group 117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245" name="Oval 11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6" name="Oval 11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235" name="Freeform 120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36" name="Freeform 121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237" name="Group 122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242" name="Oval 12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3" name="Oval 12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4" name="Oval 12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238" name="Group 126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239" name="Oval 12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0" name="Oval 12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41" name="Oval 12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233" name="Oval 130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4" name="Rectangle 131"/>
            <p:cNvSpPr>
              <a:spLocks noChangeArrowheads="1"/>
            </p:cNvSpPr>
            <p:nvPr/>
          </p:nvSpPr>
          <p:spPr bwMode="gray">
            <a:xfrm>
              <a:off x="3616" y="3009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25" name="Group 132"/>
            <p:cNvGrpSpPr>
              <a:grpSpLocks/>
            </p:cNvGrpSpPr>
            <p:nvPr/>
          </p:nvGrpSpPr>
          <p:grpSpPr bwMode="auto">
            <a:xfrm>
              <a:off x="2844" y="2968"/>
              <a:ext cx="200" cy="339"/>
              <a:chOff x="2974" y="3217"/>
              <a:chExt cx="162" cy="291"/>
            </a:xfrm>
          </p:grpSpPr>
          <p:grpSp>
            <p:nvGrpSpPr>
              <p:cNvPr id="1187" name="Group 133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219" name="Group 134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221" name="Oval 135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22" name="Oval 136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20" name="Freeform 137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188" name="Oval 138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89" name="Rectangle 139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90" name="Group 140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217" name="Oval 141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18" name="Oval 142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91" name="Oval 143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92" name="Group 144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215" name="Oval 145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216" name="Rectangle 146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193" name="Group 147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211" name="Group 148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213" name="Oval 149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214" name="Oval 15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212" name="Oval 151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94" name="Freeform 152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195" name="Group 153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196" name="Group 154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198" name="Group 155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209" name="Oval 15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10" name="Oval 15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199" name="Freeform 158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00" name="Freeform 159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201" name="Group 160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206" name="Oval 16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07" name="Oval 16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08" name="Oval 16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202" name="Group 164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203" name="Oval 16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04" name="Oval 16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205" name="Oval 16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197" name="Oval 168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6" name="Rectangle 169"/>
            <p:cNvSpPr>
              <a:spLocks noChangeArrowheads="1"/>
            </p:cNvSpPr>
            <p:nvPr/>
          </p:nvSpPr>
          <p:spPr bwMode="gray">
            <a:xfrm>
              <a:off x="2838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27" name="Group 170"/>
            <p:cNvGrpSpPr>
              <a:grpSpLocks/>
            </p:cNvGrpSpPr>
            <p:nvPr/>
          </p:nvGrpSpPr>
          <p:grpSpPr bwMode="auto">
            <a:xfrm>
              <a:off x="4670" y="2968"/>
              <a:ext cx="200" cy="339"/>
              <a:chOff x="2974" y="3217"/>
              <a:chExt cx="162" cy="291"/>
            </a:xfrm>
          </p:grpSpPr>
          <p:grpSp>
            <p:nvGrpSpPr>
              <p:cNvPr id="1151" name="Group 171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183" name="Group 172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185" name="Oval 173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86" name="Oval 17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84" name="Freeform 175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152" name="Oval 176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53" name="Rectangle 177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54" name="Group 178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181" name="Oval 179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82" name="Oval 180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55" name="Oval 181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56" name="Group 182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179" name="Oval 183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80" name="Rectangle 184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157" name="Group 185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175" name="Group 186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177" name="Oval 187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78" name="Oval 188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76" name="Oval 189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58" name="Freeform 190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159" name="Group 191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160" name="Group 192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162" name="Group 193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173" name="Oval 19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74" name="Oval 19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163" name="Freeform 196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64" name="Freeform 197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165" name="Group 198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170" name="Oval 19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71" name="Oval 20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72" name="Oval 20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166" name="Group 202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167" name="Oval 20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68" name="Oval 20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69" name="Oval 20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161" name="Oval 206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8" name="Rectangle 207"/>
            <p:cNvSpPr>
              <a:spLocks noChangeArrowheads="1"/>
            </p:cNvSpPr>
            <p:nvPr/>
          </p:nvSpPr>
          <p:spPr bwMode="gray">
            <a:xfrm>
              <a:off x="4664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29" name="Group 208"/>
            <p:cNvGrpSpPr>
              <a:grpSpLocks/>
            </p:cNvGrpSpPr>
            <p:nvPr/>
          </p:nvGrpSpPr>
          <p:grpSpPr bwMode="auto">
            <a:xfrm>
              <a:off x="4952" y="2968"/>
              <a:ext cx="200" cy="339"/>
              <a:chOff x="2974" y="3217"/>
              <a:chExt cx="162" cy="291"/>
            </a:xfrm>
          </p:grpSpPr>
          <p:grpSp>
            <p:nvGrpSpPr>
              <p:cNvPr id="1115" name="Group 209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1147" name="Group 210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1149" name="Oval 211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50" name="Oval 212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48" name="Freeform 213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116" name="Oval 214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17" name="Rectangle 215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18" name="Group 216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1145" name="Oval 217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46" name="Oval 218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19" name="Oval 219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120" name="Group 220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1143" name="Oval 221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44" name="Rectangle 222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121" name="Group 223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1139" name="Group 224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1141" name="Oval 225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42" name="Oval 226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40" name="Oval 227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122" name="Freeform 228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123" name="Group 229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1124" name="Group 230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1126" name="Group 231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1137" name="Oval 23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8" name="Oval 23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127" name="Freeform 234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28" name="Freeform 235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129" name="Group 236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1134" name="Oval 23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5" name="Oval 23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6" name="Oval 23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130" name="Group 240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1131" name="Oval 24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2" name="Oval 24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33" name="Oval 24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125" name="Oval 244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30" name="Rectangle 245"/>
            <p:cNvSpPr>
              <a:spLocks noChangeArrowheads="1"/>
            </p:cNvSpPr>
            <p:nvPr/>
          </p:nvSpPr>
          <p:spPr bwMode="gray">
            <a:xfrm>
              <a:off x="4946" y="3004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aphicFrame>
          <p:nvGraphicFramePr>
            <p:cNvPr id="31" name="Object 246"/>
            <p:cNvGraphicFramePr>
              <a:graphicFrameLocks/>
            </p:cNvGraphicFramePr>
            <p:nvPr/>
          </p:nvGraphicFramePr>
          <p:xfrm>
            <a:off x="2078" y="2488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3" name="Clip" r:id="rId17" imgW="1898640" imgH="3657600" progId="MS_ClipArt_Gallery.2">
                    <p:embed/>
                  </p:oleObj>
                </mc:Choice>
                <mc:Fallback>
                  <p:oleObj name="Clip" r:id="rId17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078" y="2488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2" name="Rectangle 247"/>
            <p:cNvSpPr>
              <a:spLocks noChangeArrowheads="1"/>
            </p:cNvSpPr>
            <p:nvPr/>
          </p:nvSpPr>
          <p:spPr bwMode="gray">
            <a:xfrm>
              <a:off x="2064" y="2515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pSp>
          <p:nvGrpSpPr>
            <p:cNvPr id="33" name="Group 248"/>
            <p:cNvGrpSpPr>
              <a:grpSpLocks/>
            </p:cNvGrpSpPr>
            <p:nvPr/>
          </p:nvGrpSpPr>
          <p:grpSpPr bwMode="auto">
            <a:xfrm>
              <a:off x="2341" y="2488"/>
              <a:ext cx="192" cy="328"/>
              <a:chOff x="4956" y="1634"/>
              <a:chExt cx="257" cy="374"/>
            </a:xfrm>
          </p:grpSpPr>
          <p:grpSp>
            <p:nvGrpSpPr>
              <p:cNvPr id="1079" name="Group 249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1111" name="Group 250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1113" name="Oval 251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14" name="Oval 252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12" name="Freeform 253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080" name="Oval 254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81" name="Rectangle 255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82" name="Group 256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1109" name="Oval 257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10" name="Oval 258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83" name="Oval 259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84" name="Group 260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1107" name="Oval 261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108" name="Rectangle 262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085" name="Group 263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1103" name="Group 264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1105" name="Oval 265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106" name="Oval 266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104" name="Oval 267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86" name="Freeform 268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87" name="Group 269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1088" name="Group 270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1090" name="Group 271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1101" name="Oval 27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02" name="Oval 27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091" name="Freeform 274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92" name="Freeform 275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093" name="Group 276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1098" name="Oval 27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99" name="Oval 27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100" name="Oval 27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094" name="Group 280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1095" name="Oval 28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96" name="Oval 28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97" name="Oval 28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089" name="Oval 284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34" name="Rectangle 285"/>
            <p:cNvSpPr>
              <a:spLocks noChangeArrowheads="1"/>
            </p:cNvSpPr>
            <p:nvPr/>
          </p:nvSpPr>
          <p:spPr bwMode="gray">
            <a:xfrm>
              <a:off x="2326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35" name="Group 286"/>
            <p:cNvGrpSpPr>
              <a:grpSpLocks/>
            </p:cNvGrpSpPr>
            <p:nvPr/>
          </p:nvGrpSpPr>
          <p:grpSpPr bwMode="auto">
            <a:xfrm>
              <a:off x="2599" y="2488"/>
              <a:ext cx="192" cy="328"/>
              <a:chOff x="4956" y="1634"/>
              <a:chExt cx="257" cy="374"/>
            </a:xfrm>
          </p:grpSpPr>
          <p:grpSp>
            <p:nvGrpSpPr>
              <p:cNvPr id="1043" name="Group 287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1075" name="Group 288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1077" name="Oval 289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78" name="Oval 290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76" name="Freeform 291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044" name="Oval 292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45" name="Rectangle 293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46" name="Group 294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1073" name="Oval 295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74" name="Oval 296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47" name="Oval 297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48" name="Group 298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1071" name="Oval 299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72" name="Rectangle 300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049" name="Group 301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1067" name="Group 302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1069" name="Oval 303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70" name="Oval 304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68" name="Oval 305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50" name="Freeform 306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51" name="Group 307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1052" name="Group 308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1054" name="Group 309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1065" name="Oval 31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6" name="Oval 31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055" name="Freeform 312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56" name="Freeform 313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057" name="Group 314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1062" name="Oval 31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3" name="Oval 31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4" name="Oval 31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058" name="Group 318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1059" name="Oval 31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0" name="Oval 32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61" name="Oval 32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053" name="Oval 322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36" name="Rectangle 323"/>
            <p:cNvSpPr>
              <a:spLocks noChangeArrowheads="1"/>
            </p:cNvSpPr>
            <p:nvPr/>
          </p:nvSpPr>
          <p:spPr bwMode="gray">
            <a:xfrm>
              <a:off x="2584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37" name="Group 324"/>
            <p:cNvGrpSpPr>
              <a:grpSpLocks/>
            </p:cNvGrpSpPr>
            <p:nvPr/>
          </p:nvGrpSpPr>
          <p:grpSpPr bwMode="auto">
            <a:xfrm>
              <a:off x="3127" y="2488"/>
              <a:ext cx="192" cy="328"/>
              <a:chOff x="4956" y="1634"/>
              <a:chExt cx="257" cy="374"/>
            </a:xfrm>
          </p:grpSpPr>
          <p:grpSp>
            <p:nvGrpSpPr>
              <p:cNvPr id="1007" name="Group 325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1039" name="Group 326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1041" name="Oval 327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42" name="Oval 328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40" name="Freeform 329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008" name="Oval 330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09" name="Rectangle 331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10" name="Group 332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1037" name="Oval 333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38" name="Oval 334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11" name="Oval 335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1012" name="Group 336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1035" name="Oval 337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36" name="Rectangle 338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1013" name="Group 339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1031" name="Group 340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1033" name="Oval 341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34" name="Oval 342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32" name="Oval 343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1014" name="Freeform 344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15" name="Group 345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1016" name="Group 346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1018" name="Group 347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1029" name="Oval 34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30" name="Oval 34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1019" name="Freeform 350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20" name="Freeform 351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021" name="Group 352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1026" name="Oval 35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27" name="Oval 35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28" name="Oval 35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1022" name="Group 356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1023" name="Oval 35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24" name="Oval 35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1025" name="Oval 35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1017" name="Oval 360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38" name="Rectangle 361"/>
            <p:cNvSpPr>
              <a:spLocks noChangeArrowheads="1"/>
            </p:cNvSpPr>
            <p:nvPr/>
          </p:nvSpPr>
          <p:spPr bwMode="gray">
            <a:xfrm>
              <a:off x="3112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39" name="Group 362"/>
            <p:cNvGrpSpPr>
              <a:grpSpLocks/>
            </p:cNvGrpSpPr>
            <p:nvPr/>
          </p:nvGrpSpPr>
          <p:grpSpPr bwMode="auto">
            <a:xfrm>
              <a:off x="4944" y="2488"/>
              <a:ext cx="192" cy="328"/>
              <a:chOff x="4956" y="1634"/>
              <a:chExt cx="257" cy="374"/>
            </a:xfrm>
          </p:grpSpPr>
          <p:grpSp>
            <p:nvGrpSpPr>
              <p:cNvPr id="971" name="Group 363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1003" name="Group 364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1005" name="Oval 365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1006" name="Oval 366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1004" name="Freeform 367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972" name="Oval 368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973" name="Rectangle 369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74" name="Group 370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1001" name="Oval 371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02" name="Oval 372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75" name="Oval 373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76" name="Group 374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999" name="Oval 375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1000" name="Rectangle 376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977" name="Group 377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995" name="Group 378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997" name="Oval 379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98" name="Oval 380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96" name="Oval 381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78" name="Freeform 382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979" name="Group 383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980" name="Group 384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982" name="Group 385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993" name="Oval 38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94" name="Oval 38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983" name="Freeform 388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84" name="Freeform 389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985" name="Group 390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990" name="Oval 39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91" name="Oval 39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92" name="Oval 39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986" name="Group 394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987" name="Oval 39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88" name="Oval 39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89" name="Oval 39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981" name="Oval 398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40" name="Rectangle 399"/>
            <p:cNvSpPr>
              <a:spLocks noChangeArrowheads="1"/>
            </p:cNvSpPr>
            <p:nvPr/>
          </p:nvSpPr>
          <p:spPr bwMode="gray">
            <a:xfrm>
              <a:off x="4929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41" name="Group 400"/>
            <p:cNvGrpSpPr>
              <a:grpSpLocks/>
            </p:cNvGrpSpPr>
            <p:nvPr/>
          </p:nvGrpSpPr>
          <p:grpSpPr bwMode="auto">
            <a:xfrm>
              <a:off x="5184" y="2488"/>
              <a:ext cx="192" cy="328"/>
              <a:chOff x="4956" y="1634"/>
              <a:chExt cx="257" cy="374"/>
            </a:xfrm>
          </p:grpSpPr>
          <p:grpSp>
            <p:nvGrpSpPr>
              <p:cNvPr id="935" name="Group 401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967" name="Group 402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969" name="Oval 403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70" name="Oval 404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68" name="Freeform 405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936" name="Oval 406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937" name="Rectangle 407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38" name="Group 408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965" name="Oval 409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966" name="Oval 410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39" name="Oval 411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40" name="Group 412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963" name="Oval 413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964" name="Rectangle 414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941" name="Group 415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959" name="Group 416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961" name="Oval 417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62" name="Oval 418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60" name="Oval 419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42" name="Freeform 420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943" name="Group 421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944" name="Group 422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946" name="Group 423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957" name="Oval 42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8" name="Oval 42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947" name="Freeform 426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48" name="Freeform 427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949" name="Group 428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954" name="Oval 42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5" name="Oval 43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6" name="Oval 43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950" name="Group 432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951" name="Oval 43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2" name="Oval 43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53" name="Oval 43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945" name="Oval 436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42" name="Rectangle 437"/>
            <p:cNvSpPr>
              <a:spLocks noChangeArrowheads="1"/>
            </p:cNvSpPr>
            <p:nvPr/>
          </p:nvSpPr>
          <p:spPr bwMode="gray">
            <a:xfrm>
              <a:off x="5169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43" name="Group 438"/>
            <p:cNvGrpSpPr>
              <a:grpSpLocks/>
            </p:cNvGrpSpPr>
            <p:nvPr/>
          </p:nvGrpSpPr>
          <p:grpSpPr bwMode="auto">
            <a:xfrm>
              <a:off x="3368" y="2488"/>
              <a:ext cx="192" cy="328"/>
              <a:chOff x="4956" y="1634"/>
              <a:chExt cx="257" cy="374"/>
            </a:xfrm>
          </p:grpSpPr>
          <p:grpSp>
            <p:nvGrpSpPr>
              <p:cNvPr id="899" name="Group 439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931" name="Group 440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933" name="Oval 441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34" name="Oval 442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32" name="Freeform 443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900" name="Oval 444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901" name="Rectangle 445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02" name="Group 446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929" name="Oval 447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930" name="Oval 448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03" name="Oval 449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904" name="Group 450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927" name="Oval 451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928" name="Rectangle 452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905" name="Group 453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923" name="Group 454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925" name="Oval 455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926" name="Oval 456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924" name="Oval 457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906" name="Freeform 458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907" name="Group 459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908" name="Group 460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910" name="Group 461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921" name="Oval 46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22" name="Oval 46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911" name="Freeform 464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12" name="Freeform 465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913" name="Group 466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918" name="Oval 46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19" name="Oval 46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20" name="Oval 46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914" name="Group 470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915" name="Oval 47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16" name="Oval 47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917" name="Oval 47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909" name="Oval 474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44" name="Rectangle 475"/>
            <p:cNvSpPr>
              <a:spLocks noChangeArrowheads="1"/>
            </p:cNvSpPr>
            <p:nvPr/>
          </p:nvSpPr>
          <p:spPr bwMode="gray">
            <a:xfrm>
              <a:off x="3353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45" name="Group 476"/>
            <p:cNvGrpSpPr>
              <a:grpSpLocks/>
            </p:cNvGrpSpPr>
            <p:nvPr/>
          </p:nvGrpSpPr>
          <p:grpSpPr bwMode="auto">
            <a:xfrm>
              <a:off x="4125" y="2488"/>
              <a:ext cx="192" cy="328"/>
              <a:chOff x="4956" y="1634"/>
              <a:chExt cx="257" cy="374"/>
            </a:xfrm>
          </p:grpSpPr>
          <p:grpSp>
            <p:nvGrpSpPr>
              <p:cNvPr id="863" name="Group 477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895" name="Group 478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897" name="Oval 479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98" name="Oval 480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896" name="Freeform 481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864" name="Oval 482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65" name="Rectangle 483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866" name="Group 484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893" name="Oval 485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94" name="Oval 486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67" name="Oval 487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868" name="Group 488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891" name="Oval 489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92" name="Rectangle 490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869" name="Group 491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887" name="Group 492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889" name="Oval 493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90" name="Oval 494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888" name="Oval 495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70" name="Freeform 496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871" name="Group 497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872" name="Group 498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874" name="Group 499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885" name="Oval 50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6" name="Oval 50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875" name="Freeform 502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76" name="Freeform 503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877" name="Group 504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882" name="Oval 50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3" name="Oval 50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4" name="Oval 50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878" name="Group 508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879" name="Oval 50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0" name="Oval 51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881" name="Oval 51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873" name="Oval 512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46" name="Rectangle 513"/>
            <p:cNvSpPr>
              <a:spLocks noChangeArrowheads="1"/>
            </p:cNvSpPr>
            <p:nvPr/>
          </p:nvSpPr>
          <p:spPr bwMode="gray">
            <a:xfrm>
              <a:off x="4110" y="252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47" name="Group 514"/>
            <p:cNvGrpSpPr>
              <a:grpSpLocks/>
            </p:cNvGrpSpPr>
            <p:nvPr/>
          </p:nvGrpSpPr>
          <p:grpSpPr bwMode="auto">
            <a:xfrm>
              <a:off x="2846" y="2774"/>
              <a:ext cx="192" cy="42"/>
              <a:chOff x="4956" y="1960"/>
              <a:chExt cx="257" cy="48"/>
            </a:xfrm>
          </p:grpSpPr>
          <p:grpSp>
            <p:nvGrpSpPr>
              <p:cNvPr id="859" name="Group 515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861" name="Oval 516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62" name="Oval 517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60" name="Freeform 518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8" name="Oval 519"/>
            <p:cNvSpPr>
              <a:spLocks noChangeArrowheads="1"/>
            </p:cNvSpPr>
            <p:nvPr/>
          </p:nvSpPr>
          <p:spPr bwMode="gray">
            <a:xfrm>
              <a:off x="2847" y="277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9" name="Rectangle 520"/>
            <p:cNvSpPr>
              <a:spLocks noChangeArrowheads="1"/>
            </p:cNvSpPr>
            <p:nvPr/>
          </p:nvSpPr>
          <p:spPr bwMode="gray">
            <a:xfrm>
              <a:off x="2847" y="2525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50" name="Group 521"/>
            <p:cNvGrpSpPr>
              <a:grpSpLocks/>
            </p:cNvGrpSpPr>
            <p:nvPr/>
          </p:nvGrpSpPr>
          <p:grpSpPr bwMode="auto">
            <a:xfrm>
              <a:off x="2847" y="2507"/>
              <a:ext cx="191" cy="37"/>
              <a:chOff x="4957" y="1656"/>
              <a:chExt cx="256" cy="42"/>
            </a:xfrm>
          </p:grpSpPr>
          <p:sp>
            <p:nvSpPr>
              <p:cNvPr id="857" name="Oval 522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58" name="Oval 523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51" name="Oval 524"/>
            <p:cNvSpPr>
              <a:spLocks noChangeArrowheads="1"/>
            </p:cNvSpPr>
            <p:nvPr/>
          </p:nvSpPr>
          <p:spPr bwMode="gray">
            <a:xfrm>
              <a:off x="2847" y="2504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52" name="Group 525"/>
            <p:cNvGrpSpPr>
              <a:grpSpLocks/>
            </p:cNvGrpSpPr>
            <p:nvPr/>
          </p:nvGrpSpPr>
          <p:grpSpPr bwMode="auto">
            <a:xfrm>
              <a:off x="2846" y="2494"/>
              <a:ext cx="191" cy="32"/>
              <a:chOff x="4956" y="1641"/>
              <a:chExt cx="256" cy="36"/>
            </a:xfrm>
          </p:grpSpPr>
          <p:sp>
            <p:nvSpPr>
              <p:cNvPr id="855" name="Oval 526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56" name="Rectangle 527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53" name="Group 528"/>
            <p:cNvGrpSpPr>
              <a:grpSpLocks/>
            </p:cNvGrpSpPr>
            <p:nvPr/>
          </p:nvGrpSpPr>
          <p:grpSpPr bwMode="auto">
            <a:xfrm>
              <a:off x="2846" y="2488"/>
              <a:ext cx="191" cy="31"/>
              <a:chOff x="4956" y="1634"/>
              <a:chExt cx="256" cy="35"/>
            </a:xfrm>
          </p:grpSpPr>
          <p:grpSp>
            <p:nvGrpSpPr>
              <p:cNvPr id="851" name="Group 529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853" name="Oval 530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54" name="Oval 531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52" name="Oval 532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54" name="Freeform 533"/>
            <p:cNvSpPr>
              <a:spLocks/>
            </p:cNvSpPr>
            <p:nvPr/>
          </p:nvSpPr>
          <p:spPr bwMode="gray">
            <a:xfrm>
              <a:off x="2865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55" name="Group 534"/>
            <p:cNvGrpSpPr>
              <a:grpSpLocks/>
            </p:cNvGrpSpPr>
            <p:nvPr/>
          </p:nvGrpSpPr>
          <p:grpSpPr bwMode="auto">
            <a:xfrm>
              <a:off x="2923" y="2492"/>
              <a:ext cx="38" cy="27"/>
              <a:chOff x="5059" y="1638"/>
              <a:chExt cx="51" cy="31"/>
            </a:xfrm>
          </p:grpSpPr>
          <p:grpSp>
            <p:nvGrpSpPr>
              <p:cNvPr id="836" name="Group 535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838" name="Group 536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849" name="Oval 537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50" name="Oval 538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839" name="Freeform 539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40" name="Freeform 540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841" name="Group 541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846" name="Oval 542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47" name="Oval 543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48" name="Oval 544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842" name="Group 545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843" name="Oval 546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44" name="Oval 547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45" name="Oval 548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837" name="Oval 549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56" name="Rectangle 550"/>
            <p:cNvSpPr>
              <a:spLocks noChangeArrowheads="1"/>
            </p:cNvSpPr>
            <p:nvPr/>
          </p:nvSpPr>
          <p:spPr bwMode="gray">
            <a:xfrm>
              <a:off x="2814" y="2536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57" name="Group 551"/>
            <p:cNvGrpSpPr>
              <a:grpSpLocks/>
            </p:cNvGrpSpPr>
            <p:nvPr/>
          </p:nvGrpSpPr>
          <p:grpSpPr bwMode="auto">
            <a:xfrm>
              <a:off x="3852" y="2774"/>
              <a:ext cx="192" cy="42"/>
              <a:chOff x="4956" y="1960"/>
              <a:chExt cx="257" cy="48"/>
            </a:xfrm>
          </p:grpSpPr>
          <p:grpSp>
            <p:nvGrpSpPr>
              <p:cNvPr id="832" name="Group 552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834" name="Oval 553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35" name="Oval 554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33" name="Freeform 555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8" name="Oval 556"/>
            <p:cNvSpPr>
              <a:spLocks noChangeArrowheads="1"/>
            </p:cNvSpPr>
            <p:nvPr/>
          </p:nvSpPr>
          <p:spPr bwMode="gray">
            <a:xfrm>
              <a:off x="3853" y="277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9" name="Rectangle 557"/>
            <p:cNvSpPr>
              <a:spLocks noChangeArrowheads="1"/>
            </p:cNvSpPr>
            <p:nvPr/>
          </p:nvSpPr>
          <p:spPr bwMode="gray">
            <a:xfrm>
              <a:off x="3853" y="2525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60" name="Group 558"/>
            <p:cNvGrpSpPr>
              <a:grpSpLocks/>
            </p:cNvGrpSpPr>
            <p:nvPr/>
          </p:nvGrpSpPr>
          <p:grpSpPr bwMode="auto">
            <a:xfrm>
              <a:off x="3853" y="2507"/>
              <a:ext cx="191" cy="37"/>
              <a:chOff x="4957" y="1656"/>
              <a:chExt cx="256" cy="42"/>
            </a:xfrm>
          </p:grpSpPr>
          <p:sp>
            <p:nvSpPr>
              <p:cNvPr id="830" name="Oval 559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31" name="Oval 560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61" name="Oval 561"/>
            <p:cNvSpPr>
              <a:spLocks noChangeArrowheads="1"/>
            </p:cNvSpPr>
            <p:nvPr/>
          </p:nvSpPr>
          <p:spPr bwMode="gray">
            <a:xfrm>
              <a:off x="3853" y="2504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62" name="Group 562"/>
            <p:cNvGrpSpPr>
              <a:grpSpLocks/>
            </p:cNvGrpSpPr>
            <p:nvPr/>
          </p:nvGrpSpPr>
          <p:grpSpPr bwMode="auto">
            <a:xfrm>
              <a:off x="3852" y="2494"/>
              <a:ext cx="191" cy="32"/>
              <a:chOff x="4956" y="1641"/>
              <a:chExt cx="256" cy="36"/>
            </a:xfrm>
          </p:grpSpPr>
          <p:sp>
            <p:nvSpPr>
              <p:cNvPr id="828" name="Oval 563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29" name="Rectangle 564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63" name="Group 565"/>
            <p:cNvGrpSpPr>
              <a:grpSpLocks/>
            </p:cNvGrpSpPr>
            <p:nvPr/>
          </p:nvGrpSpPr>
          <p:grpSpPr bwMode="auto">
            <a:xfrm>
              <a:off x="3852" y="2488"/>
              <a:ext cx="191" cy="31"/>
              <a:chOff x="4956" y="1634"/>
              <a:chExt cx="256" cy="35"/>
            </a:xfrm>
          </p:grpSpPr>
          <p:grpSp>
            <p:nvGrpSpPr>
              <p:cNvPr id="824" name="Group 566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826" name="Oval 567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27" name="Oval 568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25" name="Oval 569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64" name="Freeform 570"/>
            <p:cNvSpPr>
              <a:spLocks/>
            </p:cNvSpPr>
            <p:nvPr/>
          </p:nvSpPr>
          <p:spPr bwMode="gray">
            <a:xfrm>
              <a:off x="3871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65" name="Group 571"/>
            <p:cNvGrpSpPr>
              <a:grpSpLocks/>
            </p:cNvGrpSpPr>
            <p:nvPr/>
          </p:nvGrpSpPr>
          <p:grpSpPr bwMode="auto">
            <a:xfrm>
              <a:off x="3929" y="2492"/>
              <a:ext cx="38" cy="27"/>
              <a:chOff x="5059" y="1638"/>
              <a:chExt cx="51" cy="31"/>
            </a:xfrm>
          </p:grpSpPr>
          <p:grpSp>
            <p:nvGrpSpPr>
              <p:cNvPr id="809" name="Group 572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811" name="Group 573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822" name="Oval 574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23" name="Oval 575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812" name="Freeform 576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13" name="Freeform 577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814" name="Group 578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819" name="Oval 579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20" name="Oval 580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21" name="Oval 581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815" name="Group 582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816" name="Oval 583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17" name="Oval 584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818" name="Oval 585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810" name="Oval 586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66" name="Rectangle 587"/>
            <p:cNvSpPr>
              <a:spLocks noChangeArrowheads="1"/>
            </p:cNvSpPr>
            <p:nvPr/>
          </p:nvSpPr>
          <p:spPr bwMode="gray">
            <a:xfrm>
              <a:off x="3820" y="2536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67" name="Group 588"/>
            <p:cNvGrpSpPr>
              <a:grpSpLocks/>
            </p:cNvGrpSpPr>
            <p:nvPr/>
          </p:nvGrpSpPr>
          <p:grpSpPr bwMode="auto">
            <a:xfrm>
              <a:off x="4381" y="2774"/>
              <a:ext cx="192" cy="42"/>
              <a:chOff x="4956" y="1960"/>
              <a:chExt cx="257" cy="48"/>
            </a:xfrm>
          </p:grpSpPr>
          <p:grpSp>
            <p:nvGrpSpPr>
              <p:cNvPr id="805" name="Group 589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807" name="Oval 590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08" name="Oval 591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806" name="Freeform 592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8" name="Oval 593"/>
            <p:cNvSpPr>
              <a:spLocks noChangeArrowheads="1"/>
            </p:cNvSpPr>
            <p:nvPr/>
          </p:nvSpPr>
          <p:spPr bwMode="gray">
            <a:xfrm>
              <a:off x="4382" y="277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9" name="Rectangle 594"/>
            <p:cNvSpPr>
              <a:spLocks noChangeArrowheads="1"/>
            </p:cNvSpPr>
            <p:nvPr/>
          </p:nvSpPr>
          <p:spPr bwMode="gray">
            <a:xfrm>
              <a:off x="4382" y="2525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70" name="Group 595"/>
            <p:cNvGrpSpPr>
              <a:grpSpLocks/>
            </p:cNvGrpSpPr>
            <p:nvPr/>
          </p:nvGrpSpPr>
          <p:grpSpPr bwMode="auto">
            <a:xfrm>
              <a:off x="4382" y="2507"/>
              <a:ext cx="191" cy="37"/>
              <a:chOff x="4957" y="1656"/>
              <a:chExt cx="256" cy="42"/>
            </a:xfrm>
          </p:grpSpPr>
          <p:sp>
            <p:nvSpPr>
              <p:cNvPr id="803" name="Oval 596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04" name="Oval 597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71" name="Oval 598"/>
            <p:cNvSpPr>
              <a:spLocks noChangeArrowheads="1"/>
            </p:cNvSpPr>
            <p:nvPr/>
          </p:nvSpPr>
          <p:spPr bwMode="gray">
            <a:xfrm>
              <a:off x="4382" y="2504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72" name="Group 599"/>
            <p:cNvGrpSpPr>
              <a:grpSpLocks/>
            </p:cNvGrpSpPr>
            <p:nvPr/>
          </p:nvGrpSpPr>
          <p:grpSpPr bwMode="auto">
            <a:xfrm>
              <a:off x="4381" y="2494"/>
              <a:ext cx="191" cy="32"/>
              <a:chOff x="4956" y="1641"/>
              <a:chExt cx="256" cy="36"/>
            </a:xfrm>
          </p:grpSpPr>
          <p:sp>
            <p:nvSpPr>
              <p:cNvPr id="801" name="Oval 600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802" name="Rectangle 601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73" name="Group 602"/>
            <p:cNvGrpSpPr>
              <a:grpSpLocks/>
            </p:cNvGrpSpPr>
            <p:nvPr/>
          </p:nvGrpSpPr>
          <p:grpSpPr bwMode="auto">
            <a:xfrm>
              <a:off x="4381" y="2488"/>
              <a:ext cx="191" cy="31"/>
              <a:chOff x="4956" y="1634"/>
              <a:chExt cx="256" cy="35"/>
            </a:xfrm>
          </p:grpSpPr>
          <p:grpSp>
            <p:nvGrpSpPr>
              <p:cNvPr id="797" name="Group 603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799" name="Oval 604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800" name="Oval 605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98" name="Oval 606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74" name="Freeform 607"/>
            <p:cNvSpPr>
              <a:spLocks/>
            </p:cNvSpPr>
            <p:nvPr/>
          </p:nvSpPr>
          <p:spPr bwMode="gray">
            <a:xfrm>
              <a:off x="4400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75" name="Group 608"/>
            <p:cNvGrpSpPr>
              <a:grpSpLocks/>
            </p:cNvGrpSpPr>
            <p:nvPr/>
          </p:nvGrpSpPr>
          <p:grpSpPr bwMode="auto">
            <a:xfrm>
              <a:off x="4458" y="2492"/>
              <a:ext cx="38" cy="27"/>
              <a:chOff x="5059" y="1638"/>
              <a:chExt cx="51" cy="31"/>
            </a:xfrm>
          </p:grpSpPr>
          <p:grpSp>
            <p:nvGrpSpPr>
              <p:cNvPr id="782" name="Group 609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784" name="Group 610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795" name="Oval 611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6" name="Oval 612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85" name="Freeform 613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86" name="Freeform 614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787" name="Group 615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792" name="Oval 616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3" name="Oval 617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4" name="Oval 618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788" name="Group 619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789" name="Oval 620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0" name="Oval 621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91" name="Oval 622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783" name="Oval 623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76" name="Rectangle 624"/>
            <p:cNvSpPr>
              <a:spLocks noChangeArrowheads="1"/>
            </p:cNvSpPr>
            <p:nvPr/>
          </p:nvSpPr>
          <p:spPr bwMode="gray">
            <a:xfrm>
              <a:off x="4349" y="2536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77" name="Group 625"/>
            <p:cNvGrpSpPr>
              <a:grpSpLocks/>
            </p:cNvGrpSpPr>
            <p:nvPr/>
          </p:nvGrpSpPr>
          <p:grpSpPr bwMode="auto">
            <a:xfrm>
              <a:off x="4671" y="2774"/>
              <a:ext cx="192" cy="42"/>
              <a:chOff x="4956" y="1960"/>
              <a:chExt cx="257" cy="48"/>
            </a:xfrm>
          </p:grpSpPr>
          <p:grpSp>
            <p:nvGrpSpPr>
              <p:cNvPr id="778" name="Group 626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780" name="Oval 627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81" name="Oval 628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79" name="Freeform 629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8" name="Oval 630"/>
            <p:cNvSpPr>
              <a:spLocks noChangeArrowheads="1"/>
            </p:cNvSpPr>
            <p:nvPr/>
          </p:nvSpPr>
          <p:spPr bwMode="gray">
            <a:xfrm>
              <a:off x="4672" y="277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9" name="Rectangle 631"/>
            <p:cNvSpPr>
              <a:spLocks noChangeArrowheads="1"/>
            </p:cNvSpPr>
            <p:nvPr/>
          </p:nvSpPr>
          <p:spPr bwMode="gray">
            <a:xfrm>
              <a:off x="4672" y="2525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80" name="Group 632"/>
            <p:cNvGrpSpPr>
              <a:grpSpLocks/>
            </p:cNvGrpSpPr>
            <p:nvPr/>
          </p:nvGrpSpPr>
          <p:grpSpPr bwMode="auto">
            <a:xfrm>
              <a:off x="4672" y="2507"/>
              <a:ext cx="191" cy="37"/>
              <a:chOff x="4957" y="1656"/>
              <a:chExt cx="256" cy="42"/>
            </a:xfrm>
          </p:grpSpPr>
          <p:sp>
            <p:nvSpPr>
              <p:cNvPr id="776" name="Oval 633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777" name="Oval 634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81" name="Oval 635"/>
            <p:cNvSpPr>
              <a:spLocks noChangeArrowheads="1"/>
            </p:cNvSpPr>
            <p:nvPr/>
          </p:nvSpPr>
          <p:spPr bwMode="gray">
            <a:xfrm>
              <a:off x="4672" y="2504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82" name="Group 636"/>
            <p:cNvGrpSpPr>
              <a:grpSpLocks/>
            </p:cNvGrpSpPr>
            <p:nvPr/>
          </p:nvGrpSpPr>
          <p:grpSpPr bwMode="auto">
            <a:xfrm>
              <a:off x="4671" y="2494"/>
              <a:ext cx="191" cy="32"/>
              <a:chOff x="4956" y="1641"/>
              <a:chExt cx="256" cy="36"/>
            </a:xfrm>
          </p:grpSpPr>
          <p:sp>
            <p:nvSpPr>
              <p:cNvPr id="774" name="Oval 637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775" name="Rectangle 638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83" name="Group 639"/>
            <p:cNvGrpSpPr>
              <a:grpSpLocks/>
            </p:cNvGrpSpPr>
            <p:nvPr/>
          </p:nvGrpSpPr>
          <p:grpSpPr bwMode="auto">
            <a:xfrm>
              <a:off x="4671" y="2488"/>
              <a:ext cx="191" cy="31"/>
              <a:chOff x="4956" y="1634"/>
              <a:chExt cx="256" cy="35"/>
            </a:xfrm>
          </p:grpSpPr>
          <p:grpSp>
            <p:nvGrpSpPr>
              <p:cNvPr id="770" name="Group 640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772" name="Oval 641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73" name="Oval 642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71" name="Oval 643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84" name="Freeform 644"/>
            <p:cNvSpPr>
              <a:spLocks/>
            </p:cNvSpPr>
            <p:nvPr/>
          </p:nvSpPr>
          <p:spPr bwMode="gray">
            <a:xfrm>
              <a:off x="4690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85" name="Group 645"/>
            <p:cNvGrpSpPr>
              <a:grpSpLocks/>
            </p:cNvGrpSpPr>
            <p:nvPr/>
          </p:nvGrpSpPr>
          <p:grpSpPr bwMode="auto">
            <a:xfrm>
              <a:off x="4748" y="2492"/>
              <a:ext cx="38" cy="27"/>
              <a:chOff x="5059" y="1638"/>
              <a:chExt cx="51" cy="31"/>
            </a:xfrm>
          </p:grpSpPr>
          <p:grpSp>
            <p:nvGrpSpPr>
              <p:cNvPr id="755" name="Group 646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757" name="Group 647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768" name="Oval 648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9" name="Oval 649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58" name="Freeform 650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59" name="Freeform 651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760" name="Group 652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765" name="Oval 653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6" name="Oval 654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7" name="Oval 655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761" name="Group 656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762" name="Oval 657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3" name="Oval 658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64" name="Oval 659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756" name="Oval 660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86" name="Rectangle 661"/>
            <p:cNvSpPr>
              <a:spLocks noChangeArrowheads="1"/>
            </p:cNvSpPr>
            <p:nvPr/>
          </p:nvSpPr>
          <p:spPr bwMode="gray">
            <a:xfrm>
              <a:off x="4639" y="2536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87" name="Group 662"/>
            <p:cNvGrpSpPr>
              <a:grpSpLocks/>
            </p:cNvGrpSpPr>
            <p:nvPr/>
          </p:nvGrpSpPr>
          <p:grpSpPr bwMode="auto">
            <a:xfrm>
              <a:off x="3598" y="2774"/>
              <a:ext cx="192" cy="42"/>
              <a:chOff x="4956" y="1960"/>
              <a:chExt cx="257" cy="48"/>
            </a:xfrm>
          </p:grpSpPr>
          <p:grpSp>
            <p:nvGrpSpPr>
              <p:cNvPr id="751" name="Group 663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753" name="Oval 664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5F5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54" name="Oval 665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5F5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52" name="Freeform 666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FB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8" name="Oval 667"/>
            <p:cNvSpPr>
              <a:spLocks noChangeArrowheads="1"/>
            </p:cNvSpPr>
            <p:nvPr/>
          </p:nvSpPr>
          <p:spPr bwMode="gray">
            <a:xfrm>
              <a:off x="3599" y="2772"/>
              <a:ext cx="191" cy="34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9" name="Rectangle 668"/>
            <p:cNvSpPr>
              <a:spLocks noChangeArrowheads="1"/>
            </p:cNvSpPr>
            <p:nvPr/>
          </p:nvSpPr>
          <p:spPr bwMode="gray">
            <a:xfrm>
              <a:off x="3599" y="2525"/>
              <a:ext cx="191" cy="264"/>
            </a:xfrm>
            <a:prstGeom prst="rect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90" name="Group 669"/>
            <p:cNvGrpSpPr>
              <a:grpSpLocks/>
            </p:cNvGrpSpPr>
            <p:nvPr/>
          </p:nvGrpSpPr>
          <p:grpSpPr bwMode="auto">
            <a:xfrm>
              <a:off x="3599" y="2507"/>
              <a:ext cx="191" cy="37"/>
              <a:chOff x="4957" y="1656"/>
              <a:chExt cx="256" cy="42"/>
            </a:xfrm>
          </p:grpSpPr>
          <p:sp>
            <p:nvSpPr>
              <p:cNvPr id="749" name="Oval 670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F1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750" name="Oval 671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F1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91" name="Oval 672"/>
            <p:cNvSpPr>
              <a:spLocks noChangeArrowheads="1"/>
            </p:cNvSpPr>
            <p:nvPr/>
          </p:nvSpPr>
          <p:spPr bwMode="gray">
            <a:xfrm>
              <a:off x="3599" y="2504"/>
              <a:ext cx="190" cy="38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92" name="Group 673"/>
            <p:cNvGrpSpPr>
              <a:grpSpLocks/>
            </p:cNvGrpSpPr>
            <p:nvPr/>
          </p:nvGrpSpPr>
          <p:grpSpPr bwMode="auto">
            <a:xfrm>
              <a:off x="3598" y="2494"/>
              <a:ext cx="191" cy="32"/>
              <a:chOff x="4956" y="1641"/>
              <a:chExt cx="256" cy="36"/>
            </a:xfrm>
          </p:grpSpPr>
          <p:sp>
            <p:nvSpPr>
              <p:cNvPr id="747" name="Oval 674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748" name="Rectangle 675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93" name="Group 676"/>
            <p:cNvGrpSpPr>
              <a:grpSpLocks/>
            </p:cNvGrpSpPr>
            <p:nvPr/>
          </p:nvGrpSpPr>
          <p:grpSpPr bwMode="auto">
            <a:xfrm>
              <a:off x="3598" y="2488"/>
              <a:ext cx="191" cy="31"/>
              <a:chOff x="4956" y="1634"/>
              <a:chExt cx="256" cy="35"/>
            </a:xfrm>
          </p:grpSpPr>
          <p:grpSp>
            <p:nvGrpSpPr>
              <p:cNvPr id="743" name="Group 677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745" name="Oval 678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BFBFDF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46" name="Oval 679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9F9F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744" name="Oval 680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noFill/>
              <a:ln w="3175">
                <a:solidFill>
                  <a:srgbClr val="DFD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94" name="Freeform 681"/>
            <p:cNvSpPr>
              <a:spLocks/>
            </p:cNvSpPr>
            <p:nvPr/>
          </p:nvSpPr>
          <p:spPr bwMode="gray">
            <a:xfrm>
              <a:off x="3617" y="2515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95" name="Group 682"/>
            <p:cNvGrpSpPr>
              <a:grpSpLocks/>
            </p:cNvGrpSpPr>
            <p:nvPr/>
          </p:nvGrpSpPr>
          <p:grpSpPr bwMode="auto">
            <a:xfrm>
              <a:off x="3675" y="2492"/>
              <a:ext cx="38" cy="27"/>
              <a:chOff x="5059" y="1638"/>
              <a:chExt cx="51" cy="31"/>
            </a:xfrm>
          </p:grpSpPr>
          <p:grpSp>
            <p:nvGrpSpPr>
              <p:cNvPr id="728" name="Group 683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730" name="Group 684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741" name="Oval 685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42" name="Oval 686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31" name="Freeform 687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7F7F9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32" name="Freeform 688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BFBFD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733" name="Group 689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738" name="Oval 690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9F9FBF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39" name="Oval 691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40" name="Oval 692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734" name="Group 693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735" name="Oval 694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9F9FBF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36" name="Oval 695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37" name="Oval 696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729" name="Oval 697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7F7F9F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96" name="Rectangle 698"/>
            <p:cNvSpPr>
              <a:spLocks noChangeArrowheads="1"/>
            </p:cNvSpPr>
            <p:nvPr/>
          </p:nvSpPr>
          <p:spPr bwMode="gray">
            <a:xfrm>
              <a:off x="3591" y="2536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7</a:t>
              </a:r>
            </a:p>
          </p:txBody>
        </p:sp>
        <p:grpSp>
          <p:nvGrpSpPr>
            <p:cNvPr id="97" name="Group 699"/>
            <p:cNvGrpSpPr>
              <a:grpSpLocks/>
            </p:cNvGrpSpPr>
            <p:nvPr/>
          </p:nvGrpSpPr>
          <p:grpSpPr bwMode="auto">
            <a:xfrm>
              <a:off x="4383" y="2005"/>
              <a:ext cx="192" cy="328"/>
              <a:chOff x="4956" y="1634"/>
              <a:chExt cx="257" cy="374"/>
            </a:xfrm>
          </p:grpSpPr>
          <p:grpSp>
            <p:nvGrpSpPr>
              <p:cNvPr id="692" name="Group 700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724" name="Group 701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726" name="Oval 702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27" name="Oval 703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25" name="Freeform 704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693" name="Oval 705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694" name="Rectangle 706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95" name="Group 707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722" name="Oval 708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23" name="Oval 709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96" name="Oval 710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97" name="Group 711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720" name="Oval 712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721" name="Rectangle 713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698" name="Group 714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716" name="Group 715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718" name="Oval 716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719" name="Oval 717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717" name="Oval 718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99" name="Freeform 719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700" name="Group 720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701" name="Group 721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703" name="Group 722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714" name="Oval 72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15" name="Oval 72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704" name="Freeform 725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05" name="Freeform 726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706" name="Group 727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711" name="Oval 72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12" name="Oval 72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13" name="Oval 73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707" name="Group 731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708" name="Oval 73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09" name="Oval 73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710" name="Oval 73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702" name="Oval 735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98" name="Rectangle 736"/>
            <p:cNvSpPr>
              <a:spLocks noChangeArrowheads="1"/>
            </p:cNvSpPr>
            <p:nvPr/>
          </p:nvSpPr>
          <p:spPr bwMode="gray">
            <a:xfrm>
              <a:off x="4368" y="2043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99" name="Group 737"/>
            <p:cNvGrpSpPr>
              <a:grpSpLocks/>
            </p:cNvGrpSpPr>
            <p:nvPr/>
          </p:nvGrpSpPr>
          <p:grpSpPr bwMode="auto">
            <a:xfrm>
              <a:off x="2070" y="2005"/>
              <a:ext cx="200" cy="339"/>
              <a:chOff x="2974" y="3217"/>
              <a:chExt cx="162" cy="291"/>
            </a:xfrm>
          </p:grpSpPr>
          <p:grpSp>
            <p:nvGrpSpPr>
              <p:cNvPr id="656" name="Group 738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688" name="Group 739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690" name="Oval 74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91" name="Oval 741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89" name="Freeform 742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657" name="Oval 743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658" name="Rectangle 744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59" name="Group 745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686" name="Oval 746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87" name="Oval 747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60" name="Oval 748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61" name="Group 749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684" name="Oval 750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85" name="Rectangle 751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662" name="Group 752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680" name="Group 753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682" name="Oval 754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83" name="Oval 755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81" name="Oval 756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63" name="Freeform 757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664" name="Group 758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665" name="Group 759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667" name="Group 760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678" name="Oval 76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9" name="Oval 76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668" name="Freeform 763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69" name="Freeform 764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670" name="Group 765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675" name="Oval 76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6" name="Oval 76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7" name="Oval 76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671" name="Group 769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672" name="Oval 77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3" name="Oval 77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74" name="Oval 77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666" name="Oval 773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00" name="Rectangle 774"/>
            <p:cNvSpPr>
              <a:spLocks noChangeArrowheads="1"/>
            </p:cNvSpPr>
            <p:nvPr/>
          </p:nvSpPr>
          <p:spPr bwMode="gray">
            <a:xfrm>
              <a:off x="2064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 dirty="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01" name="Group 775"/>
            <p:cNvGrpSpPr>
              <a:grpSpLocks/>
            </p:cNvGrpSpPr>
            <p:nvPr/>
          </p:nvGrpSpPr>
          <p:grpSpPr bwMode="auto">
            <a:xfrm>
              <a:off x="2341" y="2005"/>
              <a:ext cx="192" cy="328"/>
              <a:chOff x="4956" y="1634"/>
              <a:chExt cx="257" cy="374"/>
            </a:xfrm>
          </p:grpSpPr>
          <p:grpSp>
            <p:nvGrpSpPr>
              <p:cNvPr id="620" name="Group 776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652" name="Group 777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654" name="Oval 778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55" name="Oval 779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53" name="Freeform 780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621" name="Oval 781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622" name="Rectangle 782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23" name="Group 783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650" name="Oval 784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51" name="Oval 785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24" name="Oval 786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625" name="Group 787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648" name="Oval 788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49" name="Rectangle 789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626" name="Group 790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644" name="Group 791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646" name="Oval 792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47" name="Oval 793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45" name="Oval 794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627" name="Freeform 795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628" name="Group 796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629" name="Group 797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631" name="Group 798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642" name="Oval 79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43" name="Oval 80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632" name="Freeform 801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33" name="Freeform 802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634" name="Group 803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639" name="Oval 80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40" name="Oval 80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41" name="Oval 80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635" name="Group 807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636" name="Oval 80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37" name="Oval 80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38" name="Oval 81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630" name="Oval 811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02" name="Rectangle 812"/>
            <p:cNvSpPr>
              <a:spLocks noChangeArrowheads="1"/>
            </p:cNvSpPr>
            <p:nvPr/>
          </p:nvSpPr>
          <p:spPr bwMode="gray">
            <a:xfrm>
              <a:off x="2326" y="2043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103" name="Group 813"/>
            <p:cNvGrpSpPr>
              <a:grpSpLocks/>
            </p:cNvGrpSpPr>
            <p:nvPr/>
          </p:nvGrpSpPr>
          <p:grpSpPr bwMode="auto">
            <a:xfrm>
              <a:off x="2590" y="2005"/>
              <a:ext cx="200" cy="339"/>
              <a:chOff x="2974" y="3217"/>
              <a:chExt cx="162" cy="291"/>
            </a:xfrm>
          </p:grpSpPr>
          <p:grpSp>
            <p:nvGrpSpPr>
              <p:cNvPr id="584" name="Group 814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616" name="Group 815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618" name="Oval 816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19" name="Oval 817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17" name="Freeform 818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585" name="Oval 819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86" name="Rectangle 820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587" name="Group 821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614" name="Oval 822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15" name="Oval 823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88" name="Oval 824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589" name="Group 825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612" name="Oval 826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613" name="Rectangle 827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590" name="Group 828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608" name="Group 829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610" name="Oval 830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611" name="Oval 831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609" name="Oval 832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91" name="Freeform 833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592" name="Group 834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593" name="Group 835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595" name="Group 836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606" name="Oval 83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7" name="Oval 83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596" name="Freeform 839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97" name="Freeform 840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598" name="Group 841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603" name="Oval 84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4" name="Oval 84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5" name="Oval 84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599" name="Group 845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600" name="Oval 84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1" name="Oval 84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602" name="Oval 84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594" name="Oval 849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04" name="Rectangle 850"/>
            <p:cNvSpPr>
              <a:spLocks noChangeArrowheads="1"/>
            </p:cNvSpPr>
            <p:nvPr/>
          </p:nvSpPr>
          <p:spPr bwMode="gray">
            <a:xfrm>
              <a:off x="2584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05" name="Group 851"/>
            <p:cNvGrpSpPr>
              <a:grpSpLocks/>
            </p:cNvGrpSpPr>
            <p:nvPr/>
          </p:nvGrpSpPr>
          <p:grpSpPr bwMode="auto">
            <a:xfrm>
              <a:off x="2852" y="2005"/>
              <a:ext cx="200" cy="339"/>
              <a:chOff x="2974" y="3217"/>
              <a:chExt cx="162" cy="291"/>
            </a:xfrm>
          </p:grpSpPr>
          <p:grpSp>
            <p:nvGrpSpPr>
              <p:cNvPr id="548" name="Group 852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580" name="Group 853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582" name="Oval 85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83" name="Oval 855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81" name="Freeform 856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549" name="Oval 857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50" name="Rectangle 858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551" name="Group 859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578" name="Oval 860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79" name="Oval 861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52" name="Oval 862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553" name="Group 863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576" name="Oval 864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77" name="Rectangle 865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554" name="Group 866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572" name="Group 867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574" name="Oval 868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75" name="Oval 869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73" name="Oval 870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55" name="Freeform 871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556" name="Group 872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557" name="Group 873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559" name="Group 874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570" name="Oval 87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71" name="Oval 87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560" name="Freeform 877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61" name="Freeform 878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562" name="Group 879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567" name="Oval 88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68" name="Oval 88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69" name="Oval 88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563" name="Group 883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564" name="Oval 88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65" name="Oval 88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66" name="Oval 88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558" name="Oval 887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06" name="Rectangle 888"/>
            <p:cNvSpPr>
              <a:spLocks noChangeArrowheads="1"/>
            </p:cNvSpPr>
            <p:nvPr/>
          </p:nvSpPr>
          <p:spPr bwMode="gray">
            <a:xfrm>
              <a:off x="2846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07" name="Group 889"/>
            <p:cNvGrpSpPr>
              <a:grpSpLocks/>
            </p:cNvGrpSpPr>
            <p:nvPr/>
          </p:nvGrpSpPr>
          <p:grpSpPr bwMode="auto">
            <a:xfrm>
              <a:off x="3134" y="2291"/>
              <a:ext cx="192" cy="42"/>
              <a:chOff x="4956" y="1960"/>
              <a:chExt cx="257" cy="48"/>
            </a:xfrm>
          </p:grpSpPr>
          <p:grpSp>
            <p:nvGrpSpPr>
              <p:cNvPr id="544" name="Group 890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546" name="Oval 891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47" name="Oval 892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45" name="Freeform 893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8" name="Oval 894"/>
            <p:cNvSpPr>
              <a:spLocks noChangeArrowheads="1"/>
            </p:cNvSpPr>
            <p:nvPr/>
          </p:nvSpPr>
          <p:spPr bwMode="gray">
            <a:xfrm>
              <a:off x="3135" y="2289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09" name="Rectangle 895"/>
            <p:cNvSpPr>
              <a:spLocks noChangeArrowheads="1"/>
            </p:cNvSpPr>
            <p:nvPr/>
          </p:nvSpPr>
          <p:spPr bwMode="gray">
            <a:xfrm>
              <a:off x="3135" y="2042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10" name="Group 896"/>
            <p:cNvGrpSpPr>
              <a:grpSpLocks/>
            </p:cNvGrpSpPr>
            <p:nvPr/>
          </p:nvGrpSpPr>
          <p:grpSpPr bwMode="auto">
            <a:xfrm>
              <a:off x="3135" y="2024"/>
              <a:ext cx="191" cy="37"/>
              <a:chOff x="4957" y="1656"/>
              <a:chExt cx="256" cy="42"/>
            </a:xfrm>
          </p:grpSpPr>
          <p:sp>
            <p:nvSpPr>
              <p:cNvPr id="542" name="Oval 897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43" name="Oval 898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11" name="Oval 899"/>
            <p:cNvSpPr>
              <a:spLocks noChangeArrowheads="1"/>
            </p:cNvSpPr>
            <p:nvPr/>
          </p:nvSpPr>
          <p:spPr bwMode="gray">
            <a:xfrm>
              <a:off x="3135" y="2021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12" name="Group 900"/>
            <p:cNvGrpSpPr>
              <a:grpSpLocks/>
            </p:cNvGrpSpPr>
            <p:nvPr/>
          </p:nvGrpSpPr>
          <p:grpSpPr bwMode="auto">
            <a:xfrm>
              <a:off x="3134" y="2011"/>
              <a:ext cx="191" cy="32"/>
              <a:chOff x="4956" y="1641"/>
              <a:chExt cx="256" cy="36"/>
            </a:xfrm>
          </p:grpSpPr>
          <p:sp>
            <p:nvSpPr>
              <p:cNvPr id="540" name="Oval 901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41" name="Rectangle 902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13" name="Group 903"/>
            <p:cNvGrpSpPr>
              <a:grpSpLocks/>
            </p:cNvGrpSpPr>
            <p:nvPr/>
          </p:nvGrpSpPr>
          <p:grpSpPr bwMode="auto">
            <a:xfrm>
              <a:off x="3134" y="2005"/>
              <a:ext cx="191" cy="31"/>
              <a:chOff x="4956" y="1634"/>
              <a:chExt cx="256" cy="35"/>
            </a:xfrm>
          </p:grpSpPr>
          <p:grpSp>
            <p:nvGrpSpPr>
              <p:cNvPr id="536" name="Group 904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538" name="Oval 905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39" name="Oval 906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537" name="Oval 907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14" name="Freeform 908"/>
            <p:cNvSpPr>
              <a:spLocks/>
            </p:cNvSpPr>
            <p:nvPr/>
          </p:nvSpPr>
          <p:spPr bwMode="gray">
            <a:xfrm>
              <a:off x="3153" y="2032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5" name="Group 909"/>
            <p:cNvGrpSpPr>
              <a:grpSpLocks/>
            </p:cNvGrpSpPr>
            <p:nvPr/>
          </p:nvGrpSpPr>
          <p:grpSpPr bwMode="auto">
            <a:xfrm>
              <a:off x="3211" y="2009"/>
              <a:ext cx="38" cy="27"/>
              <a:chOff x="5059" y="1638"/>
              <a:chExt cx="51" cy="31"/>
            </a:xfrm>
          </p:grpSpPr>
          <p:grpSp>
            <p:nvGrpSpPr>
              <p:cNvPr id="521" name="Group 910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523" name="Group 911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534" name="Oval 912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35" name="Oval 913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24" name="Freeform 914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5" name="Freeform 915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9A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526" name="Group 916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531" name="Oval 917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32" name="Oval 918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33" name="Oval 919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527" name="Group 920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528" name="Oval 921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29" name="Oval 922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30" name="Oval 923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solidFill>
                    <a:srgbClr val="F9AE0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522" name="Oval 924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16" name="Rectangle 925"/>
            <p:cNvSpPr>
              <a:spLocks noChangeArrowheads="1"/>
            </p:cNvSpPr>
            <p:nvPr/>
          </p:nvSpPr>
          <p:spPr bwMode="gray">
            <a:xfrm>
              <a:off x="3102" y="2053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117" name="Group 926"/>
            <p:cNvGrpSpPr>
              <a:grpSpLocks/>
            </p:cNvGrpSpPr>
            <p:nvPr/>
          </p:nvGrpSpPr>
          <p:grpSpPr bwMode="auto">
            <a:xfrm>
              <a:off x="3374" y="2005"/>
              <a:ext cx="200" cy="339"/>
              <a:chOff x="2974" y="3217"/>
              <a:chExt cx="162" cy="291"/>
            </a:xfrm>
          </p:grpSpPr>
          <p:grpSp>
            <p:nvGrpSpPr>
              <p:cNvPr id="485" name="Group 927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517" name="Group 928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519" name="Oval 929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20" name="Oval 930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18" name="Freeform 931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486" name="Oval 932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487" name="Rectangle 933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488" name="Group 934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515" name="Oval 935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16" name="Oval 936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89" name="Oval 937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490" name="Group 938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513" name="Oval 939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514" name="Rectangle 940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491" name="Group 941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509" name="Group 942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511" name="Oval 943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512" name="Oval 94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510" name="Oval 945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92" name="Freeform 946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493" name="Group 947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494" name="Group 948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496" name="Group 949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507" name="Oval 95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8" name="Oval 95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497" name="Freeform 952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8" name="Freeform 953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499" name="Group 954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504" name="Oval 95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5" name="Oval 95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6" name="Oval 95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500" name="Group 958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501" name="Oval 95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2" name="Oval 96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503" name="Oval 96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495" name="Oval 962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18" name="Rectangle 963"/>
            <p:cNvSpPr>
              <a:spLocks noChangeArrowheads="1"/>
            </p:cNvSpPr>
            <p:nvPr/>
          </p:nvSpPr>
          <p:spPr bwMode="gray">
            <a:xfrm>
              <a:off x="3368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19" name="Group 964"/>
            <p:cNvGrpSpPr>
              <a:grpSpLocks/>
            </p:cNvGrpSpPr>
            <p:nvPr/>
          </p:nvGrpSpPr>
          <p:grpSpPr bwMode="auto">
            <a:xfrm>
              <a:off x="3607" y="2291"/>
              <a:ext cx="192" cy="42"/>
              <a:chOff x="4956" y="1960"/>
              <a:chExt cx="257" cy="48"/>
            </a:xfrm>
          </p:grpSpPr>
          <p:grpSp>
            <p:nvGrpSpPr>
              <p:cNvPr id="481" name="Group 965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sp>
              <p:nvSpPr>
                <p:cNvPr id="483" name="Oval 966"/>
                <p:cNvSpPr>
                  <a:spLocks noChangeArrowheads="1"/>
                </p:cNvSpPr>
                <p:nvPr/>
              </p:nvSpPr>
              <p:spPr bwMode="gray">
                <a:xfrm>
                  <a:off x="4956" y="1960"/>
                  <a:ext cx="257" cy="48"/>
                </a:xfrm>
                <a:prstGeom prst="ellipse">
                  <a:avLst/>
                </a:prstGeom>
                <a:solidFill>
                  <a:srgbClr val="5F5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84" name="Oval 967"/>
                <p:cNvSpPr>
                  <a:spLocks noChangeArrowheads="1"/>
                </p:cNvSpPr>
                <p:nvPr/>
              </p:nvSpPr>
              <p:spPr bwMode="gray">
                <a:xfrm>
                  <a:off x="4957" y="1961"/>
                  <a:ext cx="256" cy="40"/>
                </a:xfrm>
                <a:prstGeom prst="ellipse">
                  <a:avLst/>
                </a:prstGeom>
                <a:solidFill>
                  <a:srgbClr val="5F5F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82" name="Freeform 968"/>
              <p:cNvSpPr>
                <a:spLocks/>
              </p:cNvSpPr>
              <p:nvPr/>
            </p:nvSpPr>
            <p:spPr bwMode="gray">
              <a:xfrm>
                <a:off x="4982" y="1992"/>
                <a:ext cx="28" cy="8"/>
              </a:xfrm>
              <a:custGeom>
                <a:avLst/>
                <a:gdLst>
                  <a:gd name="T0" fmla="*/ 0 w 114"/>
                  <a:gd name="T1" fmla="*/ 0 h 45"/>
                  <a:gd name="T2" fmla="*/ 2 w 114"/>
                  <a:gd name="T3" fmla="*/ 0 h 45"/>
                  <a:gd name="T4" fmla="*/ 4 w 114"/>
                  <a:gd name="T5" fmla="*/ 1 h 45"/>
                  <a:gd name="T6" fmla="*/ 7 w 114"/>
                  <a:gd name="T7" fmla="*/ 1 h 45"/>
                  <a:gd name="T8" fmla="*/ 7 w 114"/>
                  <a:gd name="T9" fmla="*/ 1 h 45"/>
                  <a:gd name="T10" fmla="*/ 5 w 114"/>
                  <a:gd name="T11" fmla="*/ 1 h 45"/>
                  <a:gd name="T12" fmla="*/ 3 w 114"/>
                  <a:gd name="T13" fmla="*/ 1 h 45"/>
                  <a:gd name="T14" fmla="*/ 0 w 114"/>
                  <a:gd name="T15" fmla="*/ 1 h 45"/>
                  <a:gd name="T16" fmla="*/ 0 w 114"/>
                  <a:gd name="T17" fmla="*/ 0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"/>
                  <a:gd name="T28" fmla="*/ 0 h 45"/>
                  <a:gd name="T29" fmla="*/ 114 w 114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" h="45">
                    <a:moveTo>
                      <a:pt x="0" y="0"/>
                    </a:moveTo>
                    <a:lnTo>
                      <a:pt x="33" y="9"/>
                    </a:lnTo>
                    <a:lnTo>
                      <a:pt x="71" y="17"/>
                    </a:lnTo>
                    <a:lnTo>
                      <a:pt x="112" y="26"/>
                    </a:lnTo>
                    <a:lnTo>
                      <a:pt x="114" y="45"/>
                    </a:lnTo>
                    <a:lnTo>
                      <a:pt x="85" y="39"/>
                    </a:lnTo>
                    <a:lnTo>
                      <a:pt x="47" y="29"/>
                    </a:lnTo>
                    <a:lnTo>
                      <a:pt x="3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FB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0" name="Oval 969"/>
            <p:cNvSpPr>
              <a:spLocks noChangeArrowheads="1"/>
            </p:cNvSpPr>
            <p:nvPr/>
          </p:nvSpPr>
          <p:spPr bwMode="gray">
            <a:xfrm>
              <a:off x="3608" y="2289"/>
              <a:ext cx="191" cy="34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1" name="Rectangle 970"/>
            <p:cNvSpPr>
              <a:spLocks noChangeArrowheads="1"/>
            </p:cNvSpPr>
            <p:nvPr/>
          </p:nvSpPr>
          <p:spPr bwMode="gray">
            <a:xfrm>
              <a:off x="3608" y="2042"/>
              <a:ext cx="191" cy="264"/>
            </a:xfrm>
            <a:prstGeom prst="rect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22" name="Group 971"/>
            <p:cNvGrpSpPr>
              <a:grpSpLocks/>
            </p:cNvGrpSpPr>
            <p:nvPr/>
          </p:nvGrpSpPr>
          <p:grpSpPr bwMode="auto">
            <a:xfrm>
              <a:off x="3608" y="2024"/>
              <a:ext cx="191" cy="37"/>
              <a:chOff x="4957" y="1656"/>
              <a:chExt cx="256" cy="42"/>
            </a:xfrm>
          </p:grpSpPr>
          <p:sp>
            <p:nvSpPr>
              <p:cNvPr id="479" name="Oval 972"/>
              <p:cNvSpPr>
                <a:spLocks noChangeArrowheads="1"/>
              </p:cNvSpPr>
              <p:nvPr/>
            </p:nvSpPr>
            <p:spPr bwMode="gray">
              <a:xfrm>
                <a:off x="4957" y="1659"/>
                <a:ext cx="256" cy="39"/>
              </a:xfrm>
              <a:prstGeom prst="ellipse">
                <a:avLst/>
              </a:prstGeom>
              <a:solidFill>
                <a:srgbClr val="FF1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480" name="Oval 973"/>
              <p:cNvSpPr>
                <a:spLocks noChangeArrowheads="1"/>
              </p:cNvSpPr>
              <p:nvPr/>
            </p:nvSpPr>
            <p:spPr bwMode="gray">
              <a:xfrm>
                <a:off x="4957" y="1656"/>
                <a:ext cx="256" cy="39"/>
              </a:xfrm>
              <a:prstGeom prst="ellipse">
                <a:avLst/>
              </a:prstGeom>
              <a:solidFill>
                <a:srgbClr val="FF1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23" name="Oval 974"/>
            <p:cNvSpPr>
              <a:spLocks noChangeArrowheads="1"/>
            </p:cNvSpPr>
            <p:nvPr/>
          </p:nvSpPr>
          <p:spPr bwMode="gray">
            <a:xfrm>
              <a:off x="3608" y="2021"/>
              <a:ext cx="190" cy="38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24" name="Group 975"/>
            <p:cNvGrpSpPr>
              <a:grpSpLocks/>
            </p:cNvGrpSpPr>
            <p:nvPr/>
          </p:nvGrpSpPr>
          <p:grpSpPr bwMode="auto">
            <a:xfrm>
              <a:off x="3607" y="2011"/>
              <a:ext cx="191" cy="32"/>
              <a:chOff x="4956" y="1641"/>
              <a:chExt cx="256" cy="36"/>
            </a:xfrm>
          </p:grpSpPr>
          <p:sp>
            <p:nvSpPr>
              <p:cNvPr id="477" name="Oval 976"/>
              <p:cNvSpPr>
                <a:spLocks noChangeArrowheads="1"/>
              </p:cNvSpPr>
              <p:nvPr/>
            </p:nvSpPr>
            <p:spPr bwMode="gray">
              <a:xfrm>
                <a:off x="4956" y="1641"/>
                <a:ext cx="256" cy="36"/>
              </a:xfrm>
              <a:prstGeom prst="ellipse">
                <a:avLst/>
              </a:pr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478" name="Rectangle 977"/>
              <p:cNvSpPr>
                <a:spLocks noChangeArrowheads="1"/>
              </p:cNvSpPr>
              <p:nvPr/>
            </p:nvSpPr>
            <p:spPr bwMode="gray">
              <a:xfrm>
                <a:off x="4956" y="1650"/>
                <a:ext cx="256" cy="9"/>
              </a:xfrm>
              <a:prstGeom prst="rect">
                <a:avLst/>
              </a:pr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25" name="Group 978"/>
            <p:cNvGrpSpPr>
              <a:grpSpLocks/>
            </p:cNvGrpSpPr>
            <p:nvPr/>
          </p:nvGrpSpPr>
          <p:grpSpPr bwMode="auto">
            <a:xfrm>
              <a:off x="3607" y="2005"/>
              <a:ext cx="191" cy="31"/>
              <a:chOff x="4956" y="1634"/>
              <a:chExt cx="256" cy="35"/>
            </a:xfrm>
          </p:grpSpPr>
          <p:grpSp>
            <p:nvGrpSpPr>
              <p:cNvPr id="473" name="Group 979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sp>
              <p:nvSpPr>
                <p:cNvPr id="475" name="Oval 980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BFBFDF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76" name="Oval 981"/>
                <p:cNvSpPr>
                  <a:spLocks noChangeArrowheads="1"/>
                </p:cNvSpPr>
                <p:nvPr/>
              </p:nvSpPr>
              <p:spPr bwMode="gray">
                <a:xfrm>
                  <a:off x="4956" y="1637"/>
                  <a:ext cx="256" cy="32"/>
                </a:xfrm>
                <a:prstGeom prst="ellipse">
                  <a:avLst/>
                </a:prstGeom>
                <a:solidFill>
                  <a:srgbClr val="9F9F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74" name="Oval 982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noFill/>
              <a:ln w="3175">
                <a:solidFill>
                  <a:srgbClr val="DFD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26" name="Freeform 983"/>
            <p:cNvSpPr>
              <a:spLocks/>
            </p:cNvSpPr>
            <p:nvPr/>
          </p:nvSpPr>
          <p:spPr bwMode="gray">
            <a:xfrm>
              <a:off x="3626" y="2032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27" name="Group 984"/>
            <p:cNvGrpSpPr>
              <a:grpSpLocks/>
            </p:cNvGrpSpPr>
            <p:nvPr/>
          </p:nvGrpSpPr>
          <p:grpSpPr bwMode="auto">
            <a:xfrm>
              <a:off x="3684" y="2009"/>
              <a:ext cx="38" cy="27"/>
              <a:chOff x="5059" y="1638"/>
              <a:chExt cx="51" cy="31"/>
            </a:xfrm>
          </p:grpSpPr>
          <p:grpSp>
            <p:nvGrpSpPr>
              <p:cNvPr id="458" name="Group 985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460" name="Group 986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15"/>
                  <a:chOff x="5059" y="1638"/>
                  <a:chExt cx="51" cy="15"/>
                </a:xfrm>
              </p:grpSpPr>
              <p:sp>
                <p:nvSpPr>
                  <p:cNvPr id="471" name="Oval 987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5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72" name="Oval 988"/>
                  <p:cNvSpPr>
                    <a:spLocks noChangeArrowheads="1"/>
                  </p:cNvSpPr>
                  <p:nvPr/>
                </p:nvSpPr>
                <p:spPr bwMode="gray">
                  <a:xfrm>
                    <a:off x="5059" y="1638"/>
                    <a:ext cx="51" cy="14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61" name="Freeform 989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9"/>
                </a:xfrm>
                <a:custGeom>
                  <a:avLst/>
                  <a:gdLst>
                    <a:gd name="T0" fmla="*/ 1 w 172"/>
                    <a:gd name="T1" fmla="*/ 0 h 111"/>
                    <a:gd name="T2" fmla="*/ 0 w 172"/>
                    <a:gd name="T3" fmla="*/ 3 h 111"/>
                    <a:gd name="T4" fmla="*/ 3 w 172"/>
                    <a:gd name="T5" fmla="*/ 3 h 111"/>
                    <a:gd name="T6" fmla="*/ 8 w 172"/>
                    <a:gd name="T7" fmla="*/ 3 h 111"/>
                    <a:gd name="T8" fmla="*/ 11 w 172"/>
                    <a:gd name="T9" fmla="*/ 3 h 111"/>
                    <a:gd name="T10" fmla="*/ 9 w 172"/>
                    <a:gd name="T11" fmla="*/ 0 h 111"/>
                    <a:gd name="T12" fmla="*/ 1 w 172"/>
                    <a:gd name="T13" fmla="*/ 0 h 1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11"/>
                    <a:gd name="T23" fmla="*/ 172 w 172"/>
                    <a:gd name="T24" fmla="*/ 111 h 1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11">
                      <a:moveTo>
                        <a:pt x="20" y="1"/>
                      </a:moveTo>
                      <a:lnTo>
                        <a:pt x="0" y="92"/>
                      </a:lnTo>
                      <a:lnTo>
                        <a:pt x="46" y="111"/>
                      </a:lnTo>
                      <a:lnTo>
                        <a:pt x="131" y="111"/>
                      </a:lnTo>
                      <a:lnTo>
                        <a:pt x="172" y="89"/>
                      </a:lnTo>
                      <a:lnTo>
                        <a:pt x="149" y="0"/>
                      </a:lnTo>
                      <a:lnTo>
                        <a:pt x="20" y="1"/>
                      </a:lnTo>
                      <a:close/>
                    </a:path>
                  </a:pathLst>
                </a:custGeom>
                <a:solidFill>
                  <a:srgbClr val="7F7F9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62" name="Freeform 990"/>
                <p:cNvSpPr>
                  <a:spLocks/>
                </p:cNvSpPr>
                <p:nvPr/>
              </p:nvSpPr>
              <p:spPr bwMode="gray">
                <a:xfrm>
                  <a:off x="5064" y="1650"/>
                  <a:ext cx="43" cy="18"/>
                </a:xfrm>
                <a:custGeom>
                  <a:avLst/>
                  <a:gdLst>
                    <a:gd name="T0" fmla="*/ 1 w 170"/>
                    <a:gd name="T1" fmla="*/ 0 h 106"/>
                    <a:gd name="T2" fmla="*/ 0 w 170"/>
                    <a:gd name="T3" fmla="*/ 3 h 106"/>
                    <a:gd name="T4" fmla="*/ 3 w 170"/>
                    <a:gd name="T5" fmla="*/ 3 h 106"/>
                    <a:gd name="T6" fmla="*/ 8 w 170"/>
                    <a:gd name="T7" fmla="*/ 3 h 106"/>
                    <a:gd name="T8" fmla="*/ 11 w 170"/>
                    <a:gd name="T9" fmla="*/ 2 h 106"/>
                    <a:gd name="T10" fmla="*/ 9 w 170"/>
                    <a:gd name="T11" fmla="*/ 0 h 106"/>
                    <a:gd name="T12" fmla="*/ 1 w 170"/>
                    <a:gd name="T13" fmla="*/ 0 h 10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0"/>
                    <a:gd name="T22" fmla="*/ 0 h 106"/>
                    <a:gd name="T23" fmla="*/ 170 w 170"/>
                    <a:gd name="T24" fmla="*/ 106 h 10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0" h="106">
                      <a:moveTo>
                        <a:pt x="17" y="0"/>
                      </a:moveTo>
                      <a:lnTo>
                        <a:pt x="0" y="87"/>
                      </a:lnTo>
                      <a:lnTo>
                        <a:pt x="48" y="106"/>
                      </a:lnTo>
                      <a:lnTo>
                        <a:pt x="128" y="106"/>
                      </a:lnTo>
                      <a:lnTo>
                        <a:pt x="170" y="85"/>
                      </a:lnTo>
                      <a:lnTo>
                        <a:pt x="145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BFBFD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463" name="Group 991"/>
                <p:cNvGrpSpPr>
                  <a:grpSpLocks/>
                </p:cNvGrpSpPr>
                <p:nvPr/>
              </p:nvGrpSpPr>
              <p:grpSpPr bwMode="auto">
                <a:xfrm>
                  <a:off x="5069" y="1650"/>
                  <a:ext cx="31" cy="8"/>
                  <a:chOff x="5069" y="1650"/>
                  <a:chExt cx="31" cy="8"/>
                </a:xfrm>
              </p:grpSpPr>
              <p:sp>
                <p:nvSpPr>
                  <p:cNvPr id="468" name="Oval 992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0" cy="8"/>
                  </a:xfrm>
                  <a:prstGeom prst="ellipse">
                    <a:avLst/>
                  </a:prstGeom>
                  <a:solidFill>
                    <a:srgbClr val="9F9FBF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69" name="Oval 993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8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70" name="Oval 994"/>
                  <p:cNvSpPr>
                    <a:spLocks noChangeArrowheads="1"/>
                  </p:cNvSpPr>
                  <p:nvPr/>
                </p:nvSpPr>
                <p:spPr bwMode="gray">
                  <a:xfrm>
                    <a:off x="5069" y="1650"/>
                    <a:ext cx="31" cy="7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464" name="Group 995"/>
                <p:cNvGrpSpPr>
                  <a:grpSpLocks/>
                </p:cNvGrpSpPr>
                <p:nvPr/>
              </p:nvGrpSpPr>
              <p:grpSpPr bwMode="auto">
                <a:xfrm>
                  <a:off x="5064" y="1658"/>
                  <a:ext cx="41" cy="10"/>
                  <a:chOff x="5064" y="1658"/>
                  <a:chExt cx="41" cy="10"/>
                </a:xfrm>
              </p:grpSpPr>
              <p:sp>
                <p:nvSpPr>
                  <p:cNvPr id="465" name="Oval 996"/>
                  <p:cNvSpPr>
                    <a:spLocks noChangeArrowheads="1"/>
                  </p:cNvSpPr>
                  <p:nvPr/>
                </p:nvSpPr>
                <p:spPr bwMode="gray">
                  <a:xfrm>
                    <a:off x="5064" y="1659"/>
                    <a:ext cx="40" cy="9"/>
                  </a:xfrm>
                  <a:prstGeom prst="ellipse">
                    <a:avLst/>
                  </a:prstGeom>
                  <a:solidFill>
                    <a:srgbClr val="9F9FBF"/>
                  </a:solidFill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66" name="Oval 997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9"/>
                    <a:ext cx="39" cy="9"/>
                  </a:xfrm>
                  <a:prstGeom prst="ellipse">
                    <a:avLst/>
                  </a:prstGeom>
                  <a:noFill/>
                  <a:ln w="3175">
                    <a:solidFill>
                      <a:srgbClr val="7F7F9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67" name="Oval 998"/>
                  <p:cNvSpPr>
                    <a:spLocks noChangeArrowheads="1"/>
                  </p:cNvSpPr>
                  <p:nvPr/>
                </p:nvSpPr>
                <p:spPr bwMode="gray">
                  <a:xfrm>
                    <a:off x="5066" y="1658"/>
                    <a:ext cx="39" cy="10"/>
                  </a:xfrm>
                  <a:prstGeom prst="ellipse">
                    <a:avLst/>
                  </a:prstGeom>
                  <a:noFill/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459" name="Oval 999"/>
              <p:cNvSpPr>
                <a:spLocks noChangeArrowheads="1"/>
              </p:cNvSpPr>
              <p:nvPr/>
            </p:nvSpPr>
            <p:spPr bwMode="gray">
              <a:xfrm>
                <a:off x="5078" y="1652"/>
                <a:ext cx="13" cy="3"/>
              </a:xfrm>
              <a:prstGeom prst="ellipse">
                <a:avLst/>
              </a:prstGeom>
              <a:solidFill>
                <a:srgbClr val="7F7F9F"/>
              </a:solidFill>
              <a:ln w="3175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28" name="Rectangle 1000"/>
            <p:cNvSpPr>
              <a:spLocks noChangeArrowheads="1"/>
            </p:cNvSpPr>
            <p:nvPr/>
          </p:nvSpPr>
          <p:spPr bwMode="gray">
            <a:xfrm>
              <a:off x="3600" y="2053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7</a:t>
              </a:r>
            </a:p>
          </p:txBody>
        </p:sp>
        <p:grpSp>
          <p:nvGrpSpPr>
            <p:cNvPr id="129" name="Group 1001"/>
            <p:cNvGrpSpPr>
              <a:grpSpLocks/>
            </p:cNvGrpSpPr>
            <p:nvPr/>
          </p:nvGrpSpPr>
          <p:grpSpPr bwMode="auto">
            <a:xfrm>
              <a:off x="4134" y="2005"/>
              <a:ext cx="200" cy="339"/>
              <a:chOff x="2974" y="3217"/>
              <a:chExt cx="162" cy="291"/>
            </a:xfrm>
          </p:grpSpPr>
          <p:grpSp>
            <p:nvGrpSpPr>
              <p:cNvPr id="422" name="Group 1002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454" name="Group 1003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456" name="Oval 1004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57" name="Oval 1005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55" name="Freeform 1006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423" name="Oval 1007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424" name="Rectangle 1008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425" name="Group 1009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452" name="Oval 1010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53" name="Oval 1011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26" name="Oval 1012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427" name="Group 1013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450" name="Oval 1014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51" name="Rectangle 1015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428" name="Group 1016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446" name="Group 1017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448" name="Oval 1018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49" name="Oval 1019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47" name="Oval 1020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429" name="Freeform 1021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430" name="Group 1022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431" name="Group 1023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433" name="Group 1024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444" name="Oval 102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45" name="Oval 102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434" name="Freeform 1027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35" name="Freeform 1028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436" name="Group 1029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441" name="Oval 103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42" name="Oval 103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43" name="Oval 103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437" name="Group 1033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438" name="Oval 103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39" name="Oval 1035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40" name="Oval 103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432" name="Oval 1037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30" name="Rectangle 1038"/>
            <p:cNvSpPr>
              <a:spLocks noChangeArrowheads="1"/>
            </p:cNvSpPr>
            <p:nvPr/>
          </p:nvSpPr>
          <p:spPr bwMode="gray">
            <a:xfrm>
              <a:off x="4128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31" name="Group 1039"/>
            <p:cNvGrpSpPr>
              <a:grpSpLocks/>
            </p:cNvGrpSpPr>
            <p:nvPr/>
          </p:nvGrpSpPr>
          <p:grpSpPr bwMode="auto">
            <a:xfrm>
              <a:off x="3846" y="2005"/>
              <a:ext cx="200" cy="339"/>
              <a:chOff x="2974" y="3217"/>
              <a:chExt cx="162" cy="291"/>
            </a:xfrm>
          </p:grpSpPr>
          <p:grpSp>
            <p:nvGrpSpPr>
              <p:cNvPr id="386" name="Group 1040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grpSp>
              <p:nvGrpSpPr>
                <p:cNvPr id="418" name="Group 1041"/>
                <p:cNvGrpSpPr>
                  <a:grpSpLocks/>
                </p:cNvGrpSpPr>
                <p:nvPr/>
              </p:nvGrpSpPr>
              <p:grpSpPr bwMode="auto">
                <a:xfrm>
                  <a:off x="2975" y="3471"/>
                  <a:ext cx="161" cy="37"/>
                  <a:chOff x="2975" y="3471"/>
                  <a:chExt cx="161" cy="37"/>
                </a:xfrm>
              </p:grpSpPr>
              <p:sp>
                <p:nvSpPr>
                  <p:cNvPr id="420" name="Oval 1042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1"/>
                    <a:ext cx="161" cy="3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21" name="Oval 1043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472"/>
                    <a:ext cx="161" cy="3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19" name="Freeform 1044"/>
                <p:cNvSpPr>
                  <a:spLocks/>
                </p:cNvSpPr>
                <p:nvPr/>
              </p:nvSpPr>
              <p:spPr bwMode="gray">
                <a:xfrm>
                  <a:off x="2991" y="3496"/>
                  <a:ext cx="18" cy="5"/>
                </a:xfrm>
                <a:custGeom>
                  <a:avLst/>
                  <a:gdLst>
                    <a:gd name="T0" fmla="*/ 0 w 124"/>
                    <a:gd name="T1" fmla="*/ 0 h 41"/>
                    <a:gd name="T2" fmla="*/ 1 w 124"/>
                    <a:gd name="T3" fmla="*/ 0 h 41"/>
                    <a:gd name="T4" fmla="*/ 2 w 124"/>
                    <a:gd name="T5" fmla="*/ 0 h 41"/>
                    <a:gd name="T6" fmla="*/ 3 w 124"/>
                    <a:gd name="T7" fmla="*/ 0 h 41"/>
                    <a:gd name="T8" fmla="*/ 3 w 124"/>
                    <a:gd name="T9" fmla="*/ 1 h 41"/>
                    <a:gd name="T10" fmla="*/ 2 w 124"/>
                    <a:gd name="T11" fmla="*/ 0 h 41"/>
                    <a:gd name="T12" fmla="*/ 1 w 124"/>
                    <a:gd name="T13" fmla="*/ 0 h 41"/>
                    <a:gd name="T14" fmla="*/ 0 w 124"/>
                    <a:gd name="T15" fmla="*/ 0 h 41"/>
                    <a:gd name="T16" fmla="*/ 0 w 124"/>
                    <a:gd name="T17" fmla="*/ 0 h 4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4"/>
                    <a:gd name="T28" fmla="*/ 0 h 41"/>
                    <a:gd name="T29" fmla="*/ 124 w 124"/>
                    <a:gd name="T30" fmla="*/ 41 h 4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4" h="41">
                      <a:moveTo>
                        <a:pt x="0" y="0"/>
                      </a:moveTo>
                      <a:lnTo>
                        <a:pt x="35" y="8"/>
                      </a:lnTo>
                      <a:lnTo>
                        <a:pt x="77" y="15"/>
                      </a:lnTo>
                      <a:lnTo>
                        <a:pt x="122" y="24"/>
                      </a:lnTo>
                      <a:lnTo>
                        <a:pt x="124" y="41"/>
                      </a:lnTo>
                      <a:lnTo>
                        <a:pt x="92" y="36"/>
                      </a:lnTo>
                      <a:lnTo>
                        <a:pt x="50" y="27"/>
                      </a:lnTo>
                      <a:lnTo>
                        <a:pt x="3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387" name="Oval 1045"/>
              <p:cNvSpPr>
                <a:spLocks noChangeArrowheads="1"/>
              </p:cNvSpPr>
              <p:nvPr/>
            </p:nvSpPr>
            <p:spPr bwMode="gray">
              <a:xfrm>
                <a:off x="2975" y="3469"/>
                <a:ext cx="161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88" name="Rectangle 1046"/>
              <p:cNvSpPr>
                <a:spLocks noChangeArrowheads="1"/>
              </p:cNvSpPr>
              <p:nvPr/>
            </p:nvSpPr>
            <p:spPr bwMode="gray">
              <a:xfrm>
                <a:off x="2976" y="3250"/>
                <a:ext cx="160" cy="23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389" name="Group 1047"/>
              <p:cNvGrpSpPr>
                <a:grpSpLocks/>
              </p:cNvGrpSpPr>
              <p:nvPr/>
            </p:nvGrpSpPr>
            <p:grpSpPr bwMode="auto">
              <a:xfrm>
                <a:off x="2976" y="3234"/>
                <a:ext cx="160" cy="33"/>
                <a:chOff x="2976" y="3234"/>
                <a:chExt cx="160" cy="33"/>
              </a:xfrm>
            </p:grpSpPr>
            <p:sp>
              <p:nvSpPr>
                <p:cNvPr id="416" name="Oval 1048"/>
                <p:cNvSpPr>
                  <a:spLocks noChangeArrowheads="1"/>
                </p:cNvSpPr>
                <p:nvPr/>
              </p:nvSpPr>
              <p:spPr bwMode="gray">
                <a:xfrm>
                  <a:off x="2976" y="3237"/>
                  <a:ext cx="160" cy="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17" name="Oval 1049"/>
                <p:cNvSpPr>
                  <a:spLocks noChangeArrowheads="1"/>
                </p:cNvSpPr>
                <p:nvPr/>
              </p:nvSpPr>
              <p:spPr bwMode="gray">
                <a:xfrm>
                  <a:off x="2976" y="3234"/>
                  <a:ext cx="160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90" name="Oval 1050"/>
              <p:cNvSpPr>
                <a:spLocks noChangeArrowheads="1"/>
              </p:cNvSpPr>
              <p:nvPr/>
            </p:nvSpPr>
            <p:spPr bwMode="gray">
              <a:xfrm>
                <a:off x="2976" y="3231"/>
                <a:ext cx="160" cy="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391" name="Group 1051"/>
              <p:cNvGrpSpPr>
                <a:grpSpLocks/>
              </p:cNvGrpSpPr>
              <p:nvPr/>
            </p:nvGrpSpPr>
            <p:grpSpPr bwMode="auto">
              <a:xfrm>
                <a:off x="2975" y="3223"/>
                <a:ext cx="161" cy="28"/>
                <a:chOff x="2975" y="3223"/>
                <a:chExt cx="161" cy="28"/>
              </a:xfrm>
            </p:grpSpPr>
            <p:sp>
              <p:nvSpPr>
                <p:cNvPr id="414" name="Oval 1052"/>
                <p:cNvSpPr>
                  <a:spLocks noChangeArrowheads="1"/>
                </p:cNvSpPr>
                <p:nvPr/>
              </p:nvSpPr>
              <p:spPr bwMode="gray">
                <a:xfrm>
                  <a:off x="2975" y="3223"/>
                  <a:ext cx="161" cy="2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15" name="Rectangle 1053"/>
                <p:cNvSpPr>
                  <a:spLocks noChangeArrowheads="1"/>
                </p:cNvSpPr>
                <p:nvPr/>
              </p:nvSpPr>
              <p:spPr bwMode="gray">
                <a:xfrm>
                  <a:off x="2975" y="3230"/>
                  <a:ext cx="161" cy="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392" name="Group 1054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grpSp>
              <p:nvGrpSpPr>
                <p:cNvPr id="410" name="Group 1055"/>
                <p:cNvGrpSpPr>
                  <a:grpSpLocks/>
                </p:cNvGrpSpPr>
                <p:nvPr/>
              </p:nvGrpSpPr>
              <p:grpSpPr bwMode="auto">
                <a:xfrm>
                  <a:off x="2974" y="3217"/>
                  <a:ext cx="162" cy="29"/>
                  <a:chOff x="2974" y="3217"/>
                  <a:chExt cx="162" cy="29"/>
                </a:xfrm>
              </p:grpSpPr>
              <p:sp>
                <p:nvSpPr>
                  <p:cNvPr id="412" name="Oval 1056"/>
                  <p:cNvSpPr>
                    <a:spLocks noChangeArrowheads="1"/>
                  </p:cNvSpPr>
                  <p:nvPr/>
                </p:nvSpPr>
                <p:spPr bwMode="gray">
                  <a:xfrm>
                    <a:off x="2974" y="3217"/>
                    <a:ext cx="162" cy="2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413" name="Oval 1057"/>
                  <p:cNvSpPr>
                    <a:spLocks noChangeArrowheads="1"/>
                  </p:cNvSpPr>
                  <p:nvPr/>
                </p:nvSpPr>
                <p:spPr bwMode="gray">
                  <a:xfrm>
                    <a:off x="2975" y="3220"/>
                    <a:ext cx="161" cy="25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411" name="Oval 1058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93" name="Freeform 1059"/>
              <p:cNvSpPr>
                <a:spLocks/>
              </p:cNvSpPr>
              <p:nvPr/>
            </p:nvSpPr>
            <p:spPr bwMode="gray">
              <a:xfrm>
                <a:off x="2991" y="3241"/>
                <a:ext cx="18" cy="5"/>
              </a:xfrm>
              <a:custGeom>
                <a:avLst/>
                <a:gdLst>
                  <a:gd name="T0" fmla="*/ 0 w 123"/>
                  <a:gd name="T1" fmla="*/ 0 h 36"/>
                  <a:gd name="T2" fmla="*/ 1 w 123"/>
                  <a:gd name="T3" fmla="*/ 0 h 36"/>
                  <a:gd name="T4" fmla="*/ 2 w 123"/>
                  <a:gd name="T5" fmla="*/ 0 h 36"/>
                  <a:gd name="T6" fmla="*/ 3 w 123"/>
                  <a:gd name="T7" fmla="*/ 0 h 36"/>
                  <a:gd name="T8" fmla="*/ 3 w 123"/>
                  <a:gd name="T9" fmla="*/ 1 h 36"/>
                  <a:gd name="T10" fmla="*/ 2 w 123"/>
                  <a:gd name="T11" fmla="*/ 1 h 36"/>
                  <a:gd name="T12" fmla="*/ 1 w 123"/>
                  <a:gd name="T13" fmla="*/ 0 h 36"/>
                  <a:gd name="T14" fmla="*/ 0 w 123"/>
                  <a:gd name="T15" fmla="*/ 0 h 36"/>
                  <a:gd name="T16" fmla="*/ 0 w 123"/>
                  <a:gd name="T17" fmla="*/ 0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36"/>
                  <a:gd name="T29" fmla="*/ 123 w 123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36">
                    <a:moveTo>
                      <a:pt x="0" y="0"/>
                    </a:moveTo>
                    <a:lnTo>
                      <a:pt x="35" y="6"/>
                    </a:lnTo>
                    <a:lnTo>
                      <a:pt x="77" y="14"/>
                    </a:lnTo>
                    <a:lnTo>
                      <a:pt x="122" y="21"/>
                    </a:lnTo>
                    <a:lnTo>
                      <a:pt x="123" y="36"/>
                    </a:lnTo>
                    <a:lnTo>
                      <a:pt x="91" y="33"/>
                    </a:lnTo>
                    <a:lnTo>
                      <a:pt x="49" y="24"/>
                    </a:lnTo>
                    <a:lnTo>
                      <a:pt x="3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94" name="Group 1060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395" name="Group 1061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25"/>
                  <a:chOff x="3039" y="3220"/>
                  <a:chExt cx="33" cy="25"/>
                </a:xfrm>
              </p:grpSpPr>
              <p:grpSp>
                <p:nvGrpSpPr>
                  <p:cNvPr id="397" name="Group 1062"/>
                  <p:cNvGrpSpPr>
                    <a:grpSpLocks/>
                  </p:cNvGrpSpPr>
                  <p:nvPr/>
                </p:nvGrpSpPr>
                <p:grpSpPr bwMode="auto">
                  <a:xfrm>
                    <a:off x="3039" y="3220"/>
                    <a:ext cx="33" cy="13"/>
                    <a:chOff x="3039" y="3220"/>
                    <a:chExt cx="33" cy="13"/>
                  </a:xfrm>
                </p:grpSpPr>
                <p:sp>
                  <p:nvSpPr>
                    <p:cNvPr id="408" name="Oval 106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3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9" name="Oval 106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39" y="3220"/>
                      <a:ext cx="33" cy="12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398" name="Freeform 1065"/>
                  <p:cNvSpPr>
                    <a:spLocks/>
                  </p:cNvSpPr>
                  <p:nvPr/>
                </p:nvSpPr>
                <p:spPr bwMode="gray">
                  <a:xfrm>
                    <a:off x="3042" y="3230"/>
                    <a:ext cx="27" cy="15"/>
                  </a:xfrm>
                  <a:custGeom>
                    <a:avLst/>
                    <a:gdLst>
                      <a:gd name="T0" fmla="*/ 0 w 189"/>
                      <a:gd name="T1" fmla="*/ 0 h 102"/>
                      <a:gd name="T2" fmla="*/ 0 w 189"/>
                      <a:gd name="T3" fmla="*/ 2 h 102"/>
                      <a:gd name="T4" fmla="*/ 1 w 189"/>
                      <a:gd name="T5" fmla="*/ 2 h 102"/>
                      <a:gd name="T6" fmla="*/ 3 w 189"/>
                      <a:gd name="T7" fmla="*/ 2 h 102"/>
                      <a:gd name="T8" fmla="*/ 4 w 189"/>
                      <a:gd name="T9" fmla="*/ 2 h 102"/>
                      <a:gd name="T10" fmla="*/ 3 w 189"/>
                      <a:gd name="T11" fmla="*/ 0 h 102"/>
                      <a:gd name="T12" fmla="*/ 0 w 189"/>
                      <a:gd name="T13" fmla="*/ 0 h 10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9"/>
                      <a:gd name="T22" fmla="*/ 0 h 102"/>
                      <a:gd name="T23" fmla="*/ 189 w 189"/>
                      <a:gd name="T24" fmla="*/ 102 h 10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9" h="102">
                        <a:moveTo>
                          <a:pt x="22" y="1"/>
                        </a:moveTo>
                        <a:lnTo>
                          <a:pt x="0" y="84"/>
                        </a:lnTo>
                        <a:lnTo>
                          <a:pt x="50" y="102"/>
                        </a:lnTo>
                        <a:lnTo>
                          <a:pt x="144" y="102"/>
                        </a:lnTo>
                        <a:lnTo>
                          <a:pt x="189" y="81"/>
                        </a:lnTo>
                        <a:lnTo>
                          <a:pt x="164" y="0"/>
                        </a:lnTo>
                        <a:lnTo>
                          <a:pt x="22" y="1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99" name="Freeform 1066"/>
                  <p:cNvSpPr>
                    <a:spLocks/>
                  </p:cNvSpPr>
                  <p:nvPr/>
                </p:nvSpPr>
                <p:spPr bwMode="gray">
                  <a:xfrm>
                    <a:off x="3043" y="3230"/>
                    <a:ext cx="26" cy="14"/>
                  </a:xfrm>
                  <a:custGeom>
                    <a:avLst/>
                    <a:gdLst>
                      <a:gd name="T0" fmla="*/ 0 w 187"/>
                      <a:gd name="T1" fmla="*/ 0 h 97"/>
                      <a:gd name="T2" fmla="*/ 0 w 187"/>
                      <a:gd name="T3" fmla="*/ 2 h 97"/>
                      <a:gd name="T4" fmla="*/ 1 w 187"/>
                      <a:gd name="T5" fmla="*/ 2 h 97"/>
                      <a:gd name="T6" fmla="*/ 3 w 187"/>
                      <a:gd name="T7" fmla="*/ 2 h 97"/>
                      <a:gd name="T8" fmla="*/ 4 w 187"/>
                      <a:gd name="T9" fmla="*/ 2 h 97"/>
                      <a:gd name="T10" fmla="*/ 3 w 187"/>
                      <a:gd name="T11" fmla="*/ 0 h 97"/>
                      <a:gd name="T12" fmla="*/ 0 w 187"/>
                      <a:gd name="T13" fmla="*/ 0 h 9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87"/>
                      <a:gd name="T22" fmla="*/ 0 h 97"/>
                      <a:gd name="T23" fmla="*/ 187 w 187"/>
                      <a:gd name="T24" fmla="*/ 97 h 9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87" h="97">
                        <a:moveTo>
                          <a:pt x="19" y="0"/>
                        </a:moveTo>
                        <a:lnTo>
                          <a:pt x="0" y="79"/>
                        </a:lnTo>
                        <a:lnTo>
                          <a:pt x="53" y="97"/>
                        </a:lnTo>
                        <a:lnTo>
                          <a:pt x="141" y="97"/>
                        </a:lnTo>
                        <a:lnTo>
                          <a:pt x="187" y="78"/>
                        </a:lnTo>
                        <a:lnTo>
                          <a:pt x="159" y="0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400" name="Group 1067"/>
                  <p:cNvGrpSpPr>
                    <a:grpSpLocks/>
                  </p:cNvGrpSpPr>
                  <p:nvPr/>
                </p:nvGrpSpPr>
                <p:grpSpPr bwMode="auto">
                  <a:xfrm>
                    <a:off x="3045" y="3229"/>
                    <a:ext cx="21" cy="8"/>
                    <a:chOff x="3045" y="3229"/>
                    <a:chExt cx="21" cy="8"/>
                  </a:xfrm>
                </p:grpSpPr>
                <p:sp>
                  <p:nvSpPr>
                    <p:cNvPr id="405" name="Oval 106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0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6" name="Oval 1069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7" name="Oval 107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5" y="3229"/>
                      <a:ext cx="21" cy="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401" name="Group 1071"/>
                  <p:cNvGrpSpPr>
                    <a:grpSpLocks/>
                  </p:cNvGrpSpPr>
                  <p:nvPr/>
                </p:nvGrpSpPr>
                <p:grpSpPr bwMode="auto">
                  <a:xfrm>
                    <a:off x="3042" y="3235"/>
                    <a:ext cx="27" cy="10"/>
                    <a:chOff x="3042" y="3235"/>
                    <a:chExt cx="27" cy="10"/>
                  </a:xfrm>
                </p:grpSpPr>
                <p:sp>
                  <p:nvSpPr>
                    <p:cNvPr id="402" name="Oval 107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2" y="3236"/>
                      <a:ext cx="27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3" name="Oval 1073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6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404" name="Oval 107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043" y="3235"/>
                      <a:ext cx="26" cy="9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1588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396" name="Oval 1075"/>
                <p:cNvSpPr>
                  <a:spLocks noChangeArrowheads="1"/>
                </p:cNvSpPr>
                <p:nvPr/>
              </p:nvSpPr>
              <p:spPr bwMode="gray">
                <a:xfrm>
                  <a:off x="3051" y="3231"/>
                  <a:ext cx="9" cy="4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32" name="Rectangle 1076"/>
            <p:cNvSpPr>
              <a:spLocks noChangeArrowheads="1"/>
            </p:cNvSpPr>
            <p:nvPr/>
          </p:nvSpPr>
          <p:spPr bwMode="gray">
            <a:xfrm>
              <a:off x="3840" y="2041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33" name="Group 1077"/>
            <p:cNvGrpSpPr>
              <a:grpSpLocks/>
            </p:cNvGrpSpPr>
            <p:nvPr/>
          </p:nvGrpSpPr>
          <p:grpSpPr bwMode="auto">
            <a:xfrm>
              <a:off x="4671" y="2005"/>
              <a:ext cx="192" cy="328"/>
              <a:chOff x="4956" y="1634"/>
              <a:chExt cx="257" cy="374"/>
            </a:xfrm>
          </p:grpSpPr>
          <p:grpSp>
            <p:nvGrpSpPr>
              <p:cNvPr id="350" name="Group 1078"/>
              <p:cNvGrpSpPr>
                <a:grpSpLocks/>
              </p:cNvGrpSpPr>
              <p:nvPr/>
            </p:nvGrpSpPr>
            <p:grpSpPr bwMode="auto">
              <a:xfrm>
                <a:off x="4956" y="1960"/>
                <a:ext cx="257" cy="48"/>
                <a:chOff x="4956" y="1960"/>
                <a:chExt cx="257" cy="48"/>
              </a:xfrm>
            </p:grpSpPr>
            <p:grpSp>
              <p:nvGrpSpPr>
                <p:cNvPr id="382" name="Group 1079"/>
                <p:cNvGrpSpPr>
                  <a:grpSpLocks/>
                </p:cNvGrpSpPr>
                <p:nvPr/>
              </p:nvGrpSpPr>
              <p:grpSpPr bwMode="auto">
                <a:xfrm>
                  <a:off x="4956" y="1960"/>
                  <a:ext cx="257" cy="48"/>
                  <a:chOff x="4956" y="1960"/>
                  <a:chExt cx="257" cy="48"/>
                </a:xfrm>
              </p:grpSpPr>
              <p:sp>
                <p:nvSpPr>
                  <p:cNvPr id="384" name="Oval 1080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960"/>
                    <a:ext cx="257" cy="48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85" name="Oval 1081"/>
                  <p:cNvSpPr>
                    <a:spLocks noChangeArrowheads="1"/>
                  </p:cNvSpPr>
                  <p:nvPr/>
                </p:nvSpPr>
                <p:spPr bwMode="gray">
                  <a:xfrm>
                    <a:off x="4957" y="1961"/>
                    <a:ext cx="256" cy="40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383" name="Freeform 1082"/>
                <p:cNvSpPr>
                  <a:spLocks/>
                </p:cNvSpPr>
                <p:nvPr/>
              </p:nvSpPr>
              <p:spPr bwMode="gray">
                <a:xfrm>
                  <a:off x="4982" y="1992"/>
                  <a:ext cx="28" cy="8"/>
                </a:xfrm>
                <a:custGeom>
                  <a:avLst/>
                  <a:gdLst>
                    <a:gd name="T0" fmla="*/ 0 w 114"/>
                    <a:gd name="T1" fmla="*/ 0 h 45"/>
                    <a:gd name="T2" fmla="*/ 2 w 114"/>
                    <a:gd name="T3" fmla="*/ 0 h 45"/>
                    <a:gd name="T4" fmla="*/ 4 w 114"/>
                    <a:gd name="T5" fmla="*/ 1 h 45"/>
                    <a:gd name="T6" fmla="*/ 7 w 114"/>
                    <a:gd name="T7" fmla="*/ 1 h 45"/>
                    <a:gd name="T8" fmla="*/ 7 w 114"/>
                    <a:gd name="T9" fmla="*/ 1 h 45"/>
                    <a:gd name="T10" fmla="*/ 5 w 114"/>
                    <a:gd name="T11" fmla="*/ 1 h 45"/>
                    <a:gd name="T12" fmla="*/ 3 w 114"/>
                    <a:gd name="T13" fmla="*/ 1 h 45"/>
                    <a:gd name="T14" fmla="*/ 0 w 114"/>
                    <a:gd name="T15" fmla="*/ 1 h 45"/>
                    <a:gd name="T16" fmla="*/ 0 w 114"/>
                    <a:gd name="T17" fmla="*/ 0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4"/>
                    <a:gd name="T28" fmla="*/ 0 h 45"/>
                    <a:gd name="T29" fmla="*/ 114 w 114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4" h="45">
                      <a:moveTo>
                        <a:pt x="0" y="0"/>
                      </a:moveTo>
                      <a:lnTo>
                        <a:pt x="33" y="9"/>
                      </a:lnTo>
                      <a:lnTo>
                        <a:pt x="71" y="17"/>
                      </a:lnTo>
                      <a:lnTo>
                        <a:pt x="112" y="26"/>
                      </a:lnTo>
                      <a:lnTo>
                        <a:pt x="114" y="45"/>
                      </a:lnTo>
                      <a:lnTo>
                        <a:pt x="85" y="39"/>
                      </a:lnTo>
                      <a:lnTo>
                        <a:pt x="47" y="29"/>
                      </a:lnTo>
                      <a:lnTo>
                        <a:pt x="3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351" name="Oval 1083"/>
              <p:cNvSpPr>
                <a:spLocks noChangeArrowheads="1"/>
              </p:cNvSpPr>
              <p:nvPr/>
            </p:nvSpPr>
            <p:spPr bwMode="gray">
              <a:xfrm>
                <a:off x="4957" y="1958"/>
                <a:ext cx="256" cy="39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52" name="Rectangle 1084"/>
              <p:cNvSpPr>
                <a:spLocks noChangeArrowheads="1"/>
              </p:cNvSpPr>
              <p:nvPr/>
            </p:nvSpPr>
            <p:spPr bwMode="gray">
              <a:xfrm>
                <a:off x="4957" y="1676"/>
                <a:ext cx="256" cy="301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353" name="Group 1085"/>
              <p:cNvGrpSpPr>
                <a:grpSpLocks/>
              </p:cNvGrpSpPr>
              <p:nvPr/>
            </p:nvGrpSpPr>
            <p:grpSpPr bwMode="auto">
              <a:xfrm>
                <a:off x="4957" y="1656"/>
                <a:ext cx="256" cy="42"/>
                <a:chOff x="4957" y="1656"/>
                <a:chExt cx="256" cy="42"/>
              </a:xfrm>
            </p:grpSpPr>
            <p:sp>
              <p:nvSpPr>
                <p:cNvPr id="380" name="Oval 1086"/>
                <p:cNvSpPr>
                  <a:spLocks noChangeArrowheads="1"/>
                </p:cNvSpPr>
                <p:nvPr/>
              </p:nvSpPr>
              <p:spPr bwMode="gray">
                <a:xfrm>
                  <a:off x="4957" y="1659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81" name="Oval 1087"/>
                <p:cNvSpPr>
                  <a:spLocks noChangeArrowheads="1"/>
                </p:cNvSpPr>
                <p:nvPr/>
              </p:nvSpPr>
              <p:spPr bwMode="gray">
                <a:xfrm>
                  <a:off x="4957" y="1656"/>
                  <a:ext cx="256" cy="39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54" name="Oval 1088"/>
              <p:cNvSpPr>
                <a:spLocks noChangeArrowheads="1"/>
              </p:cNvSpPr>
              <p:nvPr/>
            </p:nvSpPr>
            <p:spPr bwMode="gray">
              <a:xfrm>
                <a:off x="4957" y="1652"/>
                <a:ext cx="255" cy="44"/>
              </a:xfrm>
              <a:prstGeom prst="ellipse">
                <a:avLst/>
              </a:pr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grpSp>
            <p:nvGrpSpPr>
              <p:cNvPr id="355" name="Group 1089"/>
              <p:cNvGrpSpPr>
                <a:grpSpLocks/>
              </p:cNvGrpSpPr>
              <p:nvPr/>
            </p:nvGrpSpPr>
            <p:grpSpPr bwMode="auto">
              <a:xfrm>
                <a:off x="4956" y="1641"/>
                <a:ext cx="256" cy="36"/>
                <a:chOff x="4956" y="1641"/>
                <a:chExt cx="256" cy="36"/>
              </a:xfrm>
            </p:grpSpPr>
            <p:sp>
              <p:nvSpPr>
                <p:cNvPr id="378" name="Oval 1090"/>
                <p:cNvSpPr>
                  <a:spLocks noChangeArrowheads="1"/>
                </p:cNvSpPr>
                <p:nvPr/>
              </p:nvSpPr>
              <p:spPr bwMode="gray">
                <a:xfrm>
                  <a:off x="4956" y="1641"/>
                  <a:ext cx="256" cy="36"/>
                </a:xfrm>
                <a:prstGeom prst="ellipse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79" name="Rectangle 1091"/>
                <p:cNvSpPr>
                  <a:spLocks noChangeArrowheads="1"/>
                </p:cNvSpPr>
                <p:nvPr/>
              </p:nvSpPr>
              <p:spPr bwMode="gray">
                <a:xfrm>
                  <a:off x="4956" y="1650"/>
                  <a:ext cx="256" cy="9"/>
                </a:xfrm>
                <a:prstGeom prst="rect">
                  <a:avLst/>
                </a:prstGeom>
                <a:solidFill>
                  <a:srgbClr val="D0D0D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356" name="Group 1092"/>
              <p:cNvGrpSpPr>
                <a:grpSpLocks/>
              </p:cNvGrpSpPr>
              <p:nvPr/>
            </p:nvGrpSpPr>
            <p:grpSpPr bwMode="auto">
              <a:xfrm>
                <a:off x="4956" y="1634"/>
                <a:ext cx="256" cy="35"/>
                <a:chOff x="4956" y="1634"/>
                <a:chExt cx="256" cy="35"/>
              </a:xfrm>
            </p:grpSpPr>
            <p:grpSp>
              <p:nvGrpSpPr>
                <p:cNvPr id="374" name="Group 1093"/>
                <p:cNvGrpSpPr>
                  <a:grpSpLocks/>
                </p:cNvGrpSpPr>
                <p:nvPr/>
              </p:nvGrpSpPr>
              <p:grpSpPr bwMode="auto">
                <a:xfrm>
                  <a:off x="4956" y="1634"/>
                  <a:ext cx="256" cy="35"/>
                  <a:chOff x="4956" y="1634"/>
                  <a:chExt cx="256" cy="35"/>
                </a:xfrm>
              </p:grpSpPr>
              <p:sp>
                <p:nvSpPr>
                  <p:cNvPr id="376" name="Oval 1094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4"/>
                    <a:ext cx="255" cy="35"/>
                  </a:xfrm>
                  <a:prstGeom prst="ellipse">
                    <a:avLst/>
                  </a:prstGeom>
                  <a:solidFill>
                    <a:srgbClr val="D0D0D0"/>
                  </a:solidFill>
                  <a:ln w="3175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77" name="Oval 1095"/>
                  <p:cNvSpPr>
                    <a:spLocks noChangeArrowheads="1"/>
                  </p:cNvSpPr>
                  <p:nvPr/>
                </p:nvSpPr>
                <p:spPr bwMode="gray">
                  <a:xfrm>
                    <a:off x="4956" y="1637"/>
                    <a:ext cx="256" cy="32"/>
                  </a:xfrm>
                  <a:prstGeom prst="ellipse">
                    <a:avLst/>
                  </a:pr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375" name="Oval 1096"/>
                <p:cNvSpPr>
                  <a:spLocks noChangeArrowheads="1"/>
                </p:cNvSpPr>
                <p:nvPr/>
              </p:nvSpPr>
              <p:spPr bwMode="gray">
                <a:xfrm>
                  <a:off x="4956" y="1634"/>
                  <a:ext cx="255" cy="35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57" name="Freeform 1097"/>
              <p:cNvSpPr>
                <a:spLocks/>
              </p:cNvSpPr>
              <p:nvPr/>
            </p:nvSpPr>
            <p:spPr bwMode="gray">
              <a:xfrm>
                <a:off x="4982" y="1665"/>
                <a:ext cx="28" cy="6"/>
              </a:xfrm>
              <a:custGeom>
                <a:avLst/>
                <a:gdLst>
                  <a:gd name="T0" fmla="*/ 0 w 113"/>
                  <a:gd name="T1" fmla="*/ 0 h 39"/>
                  <a:gd name="T2" fmla="*/ 2 w 113"/>
                  <a:gd name="T3" fmla="*/ 0 h 39"/>
                  <a:gd name="T4" fmla="*/ 4 w 113"/>
                  <a:gd name="T5" fmla="*/ 0 h 39"/>
                  <a:gd name="T6" fmla="*/ 7 w 113"/>
                  <a:gd name="T7" fmla="*/ 0 h 39"/>
                  <a:gd name="T8" fmla="*/ 7 w 113"/>
                  <a:gd name="T9" fmla="*/ 1 h 39"/>
                  <a:gd name="T10" fmla="*/ 5 w 113"/>
                  <a:gd name="T11" fmla="*/ 1 h 39"/>
                  <a:gd name="T12" fmla="*/ 3 w 113"/>
                  <a:gd name="T13" fmla="*/ 1 h 39"/>
                  <a:gd name="T14" fmla="*/ 0 w 113"/>
                  <a:gd name="T15" fmla="*/ 0 h 39"/>
                  <a:gd name="T16" fmla="*/ 0 w 113"/>
                  <a:gd name="T17" fmla="*/ 0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39"/>
                  <a:gd name="T29" fmla="*/ 113 w 113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39">
                    <a:moveTo>
                      <a:pt x="0" y="0"/>
                    </a:moveTo>
                    <a:lnTo>
                      <a:pt x="33" y="6"/>
                    </a:lnTo>
                    <a:lnTo>
                      <a:pt x="71" y="15"/>
                    </a:lnTo>
                    <a:lnTo>
                      <a:pt x="112" y="22"/>
                    </a:lnTo>
                    <a:lnTo>
                      <a:pt x="113" y="39"/>
                    </a:lnTo>
                    <a:lnTo>
                      <a:pt x="84" y="36"/>
                    </a:lnTo>
                    <a:lnTo>
                      <a:pt x="46" y="26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58" name="Group 1098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31"/>
                <a:chOff x="5059" y="1638"/>
                <a:chExt cx="51" cy="31"/>
              </a:xfrm>
            </p:grpSpPr>
            <p:grpSp>
              <p:nvGrpSpPr>
                <p:cNvPr id="359" name="Group 1099"/>
                <p:cNvGrpSpPr>
                  <a:grpSpLocks/>
                </p:cNvGrpSpPr>
                <p:nvPr/>
              </p:nvGrpSpPr>
              <p:grpSpPr bwMode="auto">
                <a:xfrm>
                  <a:off x="5059" y="1638"/>
                  <a:ext cx="51" cy="31"/>
                  <a:chOff x="5059" y="1638"/>
                  <a:chExt cx="51" cy="31"/>
                </a:xfrm>
              </p:grpSpPr>
              <p:grpSp>
                <p:nvGrpSpPr>
                  <p:cNvPr id="361" name="Group 1100"/>
                  <p:cNvGrpSpPr>
                    <a:grpSpLocks/>
                  </p:cNvGrpSpPr>
                  <p:nvPr/>
                </p:nvGrpSpPr>
                <p:grpSpPr bwMode="auto">
                  <a:xfrm>
                    <a:off x="5059" y="1638"/>
                    <a:ext cx="51" cy="15"/>
                    <a:chOff x="5059" y="1638"/>
                    <a:chExt cx="51" cy="15"/>
                  </a:xfrm>
                </p:grpSpPr>
                <p:sp>
                  <p:nvSpPr>
                    <p:cNvPr id="372" name="Oval 110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5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73" name="Oval 110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59" y="1638"/>
                      <a:ext cx="51" cy="14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sp>
                <p:nvSpPr>
                  <p:cNvPr id="362" name="Freeform 1103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9"/>
                  </a:xfrm>
                  <a:custGeom>
                    <a:avLst/>
                    <a:gdLst>
                      <a:gd name="T0" fmla="*/ 1 w 172"/>
                      <a:gd name="T1" fmla="*/ 0 h 111"/>
                      <a:gd name="T2" fmla="*/ 0 w 172"/>
                      <a:gd name="T3" fmla="*/ 3 h 111"/>
                      <a:gd name="T4" fmla="*/ 3 w 172"/>
                      <a:gd name="T5" fmla="*/ 3 h 111"/>
                      <a:gd name="T6" fmla="*/ 8 w 172"/>
                      <a:gd name="T7" fmla="*/ 3 h 111"/>
                      <a:gd name="T8" fmla="*/ 11 w 172"/>
                      <a:gd name="T9" fmla="*/ 3 h 111"/>
                      <a:gd name="T10" fmla="*/ 9 w 172"/>
                      <a:gd name="T11" fmla="*/ 0 h 111"/>
                      <a:gd name="T12" fmla="*/ 1 w 172"/>
                      <a:gd name="T13" fmla="*/ 0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2"/>
                      <a:gd name="T22" fmla="*/ 0 h 111"/>
                      <a:gd name="T23" fmla="*/ 172 w 172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2" h="111">
                        <a:moveTo>
                          <a:pt x="20" y="1"/>
                        </a:moveTo>
                        <a:lnTo>
                          <a:pt x="0" y="92"/>
                        </a:lnTo>
                        <a:lnTo>
                          <a:pt x="46" y="111"/>
                        </a:lnTo>
                        <a:lnTo>
                          <a:pt x="131" y="111"/>
                        </a:lnTo>
                        <a:lnTo>
                          <a:pt x="172" y="89"/>
                        </a:lnTo>
                        <a:lnTo>
                          <a:pt x="149" y="0"/>
                        </a:lnTo>
                        <a:lnTo>
                          <a:pt x="20" y="1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63" name="Freeform 1104"/>
                  <p:cNvSpPr>
                    <a:spLocks/>
                  </p:cNvSpPr>
                  <p:nvPr/>
                </p:nvSpPr>
                <p:spPr bwMode="gray">
                  <a:xfrm>
                    <a:off x="5064" y="1650"/>
                    <a:ext cx="43" cy="18"/>
                  </a:xfrm>
                  <a:custGeom>
                    <a:avLst/>
                    <a:gdLst>
                      <a:gd name="T0" fmla="*/ 1 w 170"/>
                      <a:gd name="T1" fmla="*/ 0 h 106"/>
                      <a:gd name="T2" fmla="*/ 0 w 170"/>
                      <a:gd name="T3" fmla="*/ 3 h 106"/>
                      <a:gd name="T4" fmla="*/ 3 w 170"/>
                      <a:gd name="T5" fmla="*/ 3 h 106"/>
                      <a:gd name="T6" fmla="*/ 8 w 170"/>
                      <a:gd name="T7" fmla="*/ 3 h 106"/>
                      <a:gd name="T8" fmla="*/ 11 w 170"/>
                      <a:gd name="T9" fmla="*/ 2 h 106"/>
                      <a:gd name="T10" fmla="*/ 9 w 170"/>
                      <a:gd name="T11" fmla="*/ 0 h 106"/>
                      <a:gd name="T12" fmla="*/ 1 w 170"/>
                      <a:gd name="T13" fmla="*/ 0 h 10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70"/>
                      <a:gd name="T22" fmla="*/ 0 h 106"/>
                      <a:gd name="T23" fmla="*/ 170 w 170"/>
                      <a:gd name="T24" fmla="*/ 106 h 10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70" h="106">
                        <a:moveTo>
                          <a:pt x="17" y="0"/>
                        </a:moveTo>
                        <a:lnTo>
                          <a:pt x="0" y="87"/>
                        </a:lnTo>
                        <a:lnTo>
                          <a:pt x="48" y="106"/>
                        </a:lnTo>
                        <a:lnTo>
                          <a:pt x="128" y="106"/>
                        </a:lnTo>
                        <a:lnTo>
                          <a:pt x="170" y="85"/>
                        </a:lnTo>
                        <a:lnTo>
                          <a:pt x="145" y="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D0D0D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364" name="Group 1105"/>
                  <p:cNvGrpSpPr>
                    <a:grpSpLocks/>
                  </p:cNvGrpSpPr>
                  <p:nvPr/>
                </p:nvGrpSpPr>
                <p:grpSpPr bwMode="auto">
                  <a:xfrm>
                    <a:off x="5069" y="1650"/>
                    <a:ext cx="31" cy="8"/>
                    <a:chOff x="5069" y="1650"/>
                    <a:chExt cx="31" cy="8"/>
                  </a:xfrm>
                </p:grpSpPr>
                <p:sp>
                  <p:nvSpPr>
                    <p:cNvPr id="369" name="Oval 1106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0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70" name="Oval 1107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8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71" name="Oval 1108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9" y="1650"/>
                      <a:ext cx="31" cy="7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  <p:grpSp>
                <p:nvGrpSpPr>
                  <p:cNvPr id="365" name="Group 1109"/>
                  <p:cNvGrpSpPr>
                    <a:grpSpLocks/>
                  </p:cNvGrpSpPr>
                  <p:nvPr/>
                </p:nvGrpSpPr>
                <p:grpSpPr bwMode="auto">
                  <a:xfrm>
                    <a:off x="5064" y="1658"/>
                    <a:ext cx="41" cy="10"/>
                    <a:chOff x="5064" y="1658"/>
                    <a:chExt cx="41" cy="10"/>
                  </a:xfrm>
                </p:grpSpPr>
                <p:sp>
                  <p:nvSpPr>
                    <p:cNvPr id="366" name="Oval 1110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4" y="1659"/>
                      <a:ext cx="40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67" name="Oval 1111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9"/>
                      <a:ext cx="39" cy="9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7F7F9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  <p:sp>
                  <p:nvSpPr>
                    <p:cNvPr id="368" name="Oval 1112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066" y="1658"/>
                      <a:ext cx="39" cy="10"/>
                    </a:xfrm>
                    <a:prstGeom prst="ellipse">
                      <a:avLst/>
                    </a:prstGeom>
                    <a:solidFill>
                      <a:srgbClr val="D0D0D0"/>
                    </a:solidFill>
                    <a:ln w="3175">
                      <a:solidFill>
                        <a:srgbClr val="DFD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>
                      <a:lvl1pPr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SzPct val="75000"/>
                        <a:buFont typeface="Wingdings 3" pitchFamily="18" charset="2"/>
                        <a:defRPr sz="2200">
                          <a:solidFill>
                            <a:schemeClr val="bg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hangingPunct="1"/>
                      <a:endParaRPr lang="en-US" altLang="en-US"/>
                    </a:p>
                  </p:txBody>
                </p:sp>
              </p:grpSp>
            </p:grpSp>
            <p:sp>
              <p:nvSpPr>
                <p:cNvPr id="360" name="Oval 1113"/>
                <p:cNvSpPr>
                  <a:spLocks noChangeArrowheads="1"/>
                </p:cNvSpPr>
                <p:nvPr/>
              </p:nvSpPr>
              <p:spPr bwMode="gray">
                <a:xfrm>
                  <a:off x="5078" y="1652"/>
                  <a:ext cx="13" cy="3"/>
                </a:xfrm>
                <a:prstGeom prst="ellipse">
                  <a:avLst/>
                </a:prstGeom>
                <a:solidFill>
                  <a:srgbClr val="D0D0D0"/>
                </a:solidFill>
                <a:ln w="3175">
                  <a:solidFill>
                    <a:srgbClr val="BFBFD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34" name="Rectangle 1114"/>
            <p:cNvSpPr>
              <a:spLocks noChangeArrowheads="1"/>
            </p:cNvSpPr>
            <p:nvPr/>
          </p:nvSpPr>
          <p:spPr bwMode="gray">
            <a:xfrm>
              <a:off x="4656" y="2043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 dirty="0">
                  <a:solidFill>
                    <a:schemeClr val="tx1"/>
                  </a:solidFill>
                  <a:latin typeface="Times New Roman" pitchFamily="18" charset="0"/>
                </a:rPr>
                <a:t>S</a:t>
              </a:r>
            </a:p>
          </p:txBody>
        </p:sp>
        <p:grpSp>
          <p:nvGrpSpPr>
            <p:cNvPr id="135" name="Group 1115"/>
            <p:cNvGrpSpPr>
              <a:grpSpLocks/>
            </p:cNvGrpSpPr>
            <p:nvPr/>
          </p:nvGrpSpPr>
          <p:grpSpPr bwMode="auto">
            <a:xfrm>
              <a:off x="3392" y="1829"/>
              <a:ext cx="192" cy="42"/>
              <a:chOff x="4956" y="1960"/>
              <a:chExt cx="257" cy="48"/>
            </a:xfrm>
          </p:grpSpPr>
          <p:sp>
            <p:nvSpPr>
              <p:cNvPr id="348" name="Oval 1116"/>
              <p:cNvSpPr>
                <a:spLocks noChangeArrowheads="1"/>
              </p:cNvSpPr>
              <p:nvPr/>
            </p:nvSpPr>
            <p:spPr bwMode="gray">
              <a:xfrm>
                <a:off x="4956" y="1960"/>
                <a:ext cx="257" cy="48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49" name="Oval 1117"/>
              <p:cNvSpPr>
                <a:spLocks noChangeArrowheads="1"/>
              </p:cNvSpPr>
              <p:nvPr/>
            </p:nvSpPr>
            <p:spPr bwMode="gray">
              <a:xfrm>
                <a:off x="4957" y="1961"/>
                <a:ext cx="256" cy="40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36" name="Freeform 1118"/>
            <p:cNvSpPr>
              <a:spLocks/>
            </p:cNvSpPr>
            <p:nvPr/>
          </p:nvSpPr>
          <p:spPr bwMode="gray">
            <a:xfrm>
              <a:off x="3411" y="1857"/>
              <a:ext cx="21" cy="7"/>
            </a:xfrm>
            <a:custGeom>
              <a:avLst/>
              <a:gdLst>
                <a:gd name="T0" fmla="*/ 0 w 114"/>
                <a:gd name="T1" fmla="*/ 0 h 45"/>
                <a:gd name="T2" fmla="*/ 1 w 114"/>
                <a:gd name="T3" fmla="*/ 0 h 45"/>
                <a:gd name="T4" fmla="*/ 2 w 114"/>
                <a:gd name="T5" fmla="*/ 0 h 45"/>
                <a:gd name="T6" fmla="*/ 4 w 114"/>
                <a:gd name="T7" fmla="*/ 1 h 45"/>
                <a:gd name="T8" fmla="*/ 4 w 114"/>
                <a:gd name="T9" fmla="*/ 1 h 45"/>
                <a:gd name="T10" fmla="*/ 3 w 114"/>
                <a:gd name="T11" fmla="*/ 1 h 45"/>
                <a:gd name="T12" fmla="*/ 2 w 114"/>
                <a:gd name="T13" fmla="*/ 1 h 45"/>
                <a:gd name="T14" fmla="*/ 0 w 114"/>
                <a:gd name="T15" fmla="*/ 0 h 45"/>
                <a:gd name="T16" fmla="*/ 0 w 114"/>
                <a:gd name="T17" fmla="*/ 0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"/>
                <a:gd name="T28" fmla="*/ 0 h 45"/>
                <a:gd name="T29" fmla="*/ 114 w 114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" h="45">
                  <a:moveTo>
                    <a:pt x="0" y="0"/>
                  </a:moveTo>
                  <a:lnTo>
                    <a:pt x="33" y="9"/>
                  </a:lnTo>
                  <a:lnTo>
                    <a:pt x="71" y="17"/>
                  </a:lnTo>
                  <a:lnTo>
                    <a:pt x="112" y="26"/>
                  </a:lnTo>
                  <a:lnTo>
                    <a:pt x="114" y="45"/>
                  </a:lnTo>
                  <a:lnTo>
                    <a:pt x="85" y="39"/>
                  </a:lnTo>
                  <a:lnTo>
                    <a:pt x="47" y="29"/>
                  </a:lnTo>
                  <a:lnTo>
                    <a:pt x="3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Oval 1119"/>
            <p:cNvSpPr>
              <a:spLocks noChangeArrowheads="1"/>
            </p:cNvSpPr>
            <p:nvPr/>
          </p:nvSpPr>
          <p:spPr bwMode="gray">
            <a:xfrm>
              <a:off x="3393" y="1827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8" name="Rectangle 1120"/>
            <p:cNvSpPr>
              <a:spLocks noChangeArrowheads="1"/>
            </p:cNvSpPr>
            <p:nvPr/>
          </p:nvSpPr>
          <p:spPr bwMode="gray">
            <a:xfrm>
              <a:off x="3393" y="1580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9" name="Oval 1121"/>
            <p:cNvSpPr>
              <a:spLocks noChangeArrowheads="1"/>
            </p:cNvSpPr>
            <p:nvPr/>
          </p:nvSpPr>
          <p:spPr bwMode="gray">
            <a:xfrm>
              <a:off x="3393" y="1565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0" name="Oval 1122"/>
            <p:cNvSpPr>
              <a:spLocks noChangeArrowheads="1"/>
            </p:cNvSpPr>
            <p:nvPr/>
          </p:nvSpPr>
          <p:spPr bwMode="gray">
            <a:xfrm>
              <a:off x="3393" y="156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1" name="Oval 1123"/>
            <p:cNvSpPr>
              <a:spLocks noChangeArrowheads="1"/>
            </p:cNvSpPr>
            <p:nvPr/>
          </p:nvSpPr>
          <p:spPr bwMode="gray">
            <a:xfrm>
              <a:off x="3393" y="1559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2" name="Oval 1124"/>
            <p:cNvSpPr>
              <a:spLocks noChangeArrowheads="1"/>
            </p:cNvSpPr>
            <p:nvPr/>
          </p:nvSpPr>
          <p:spPr bwMode="gray">
            <a:xfrm>
              <a:off x="3392" y="1549"/>
              <a:ext cx="191" cy="32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3" name="Rectangle 1125"/>
            <p:cNvSpPr>
              <a:spLocks noChangeArrowheads="1"/>
            </p:cNvSpPr>
            <p:nvPr/>
          </p:nvSpPr>
          <p:spPr bwMode="gray">
            <a:xfrm>
              <a:off x="3392" y="1557"/>
              <a:ext cx="191" cy="8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44" name="Group 1126"/>
            <p:cNvGrpSpPr>
              <a:grpSpLocks/>
            </p:cNvGrpSpPr>
            <p:nvPr/>
          </p:nvGrpSpPr>
          <p:grpSpPr bwMode="auto">
            <a:xfrm>
              <a:off x="3392" y="1543"/>
              <a:ext cx="191" cy="31"/>
              <a:chOff x="4956" y="1634"/>
              <a:chExt cx="256" cy="35"/>
            </a:xfrm>
          </p:grpSpPr>
          <p:sp>
            <p:nvSpPr>
              <p:cNvPr id="346" name="Oval 1127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47" name="Oval 1128"/>
              <p:cNvSpPr>
                <a:spLocks noChangeArrowheads="1"/>
              </p:cNvSpPr>
              <p:nvPr/>
            </p:nvSpPr>
            <p:spPr bwMode="gray">
              <a:xfrm>
                <a:off x="4956" y="1637"/>
                <a:ext cx="256" cy="32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5" name="Oval 1129"/>
            <p:cNvSpPr>
              <a:spLocks noChangeArrowheads="1"/>
            </p:cNvSpPr>
            <p:nvPr/>
          </p:nvSpPr>
          <p:spPr bwMode="gray">
            <a:xfrm>
              <a:off x="3392" y="1543"/>
              <a:ext cx="190" cy="31"/>
            </a:xfrm>
            <a:prstGeom prst="ellipse">
              <a:avLst/>
            </a:prstGeom>
            <a:solidFill>
              <a:srgbClr val="F9AE00"/>
            </a:solidFill>
            <a:ln w="3175">
              <a:solidFill>
                <a:srgbClr val="DFDFF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6" name="Freeform 1130"/>
            <p:cNvSpPr>
              <a:spLocks/>
            </p:cNvSpPr>
            <p:nvPr/>
          </p:nvSpPr>
          <p:spPr bwMode="gray">
            <a:xfrm>
              <a:off x="3411" y="1570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7" name="Group 1131"/>
            <p:cNvGrpSpPr>
              <a:grpSpLocks/>
            </p:cNvGrpSpPr>
            <p:nvPr/>
          </p:nvGrpSpPr>
          <p:grpSpPr bwMode="auto">
            <a:xfrm>
              <a:off x="3469" y="1547"/>
              <a:ext cx="38" cy="27"/>
              <a:chOff x="5059" y="1638"/>
              <a:chExt cx="51" cy="31"/>
            </a:xfrm>
          </p:grpSpPr>
          <p:grpSp>
            <p:nvGrpSpPr>
              <p:cNvPr id="333" name="Group 1132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15"/>
                <a:chOff x="5059" y="1638"/>
                <a:chExt cx="51" cy="15"/>
              </a:xfrm>
            </p:grpSpPr>
            <p:sp>
              <p:nvSpPr>
                <p:cNvPr id="344" name="Oval 1133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45" name="Oval 1134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4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34" name="Freeform 1135"/>
              <p:cNvSpPr>
                <a:spLocks/>
              </p:cNvSpPr>
              <p:nvPr/>
            </p:nvSpPr>
            <p:spPr bwMode="gray">
              <a:xfrm>
                <a:off x="5064" y="1650"/>
                <a:ext cx="43" cy="19"/>
              </a:xfrm>
              <a:custGeom>
                <a:avLst/>
                <a:gdLst>
                  <a:gd name="T0" fmla="*/ 1 w 172"/>
                  <a:gd name="T1" fmla="*/ 0 h 111"/>
                  <a:gd name="T2" fmla="*/ 0 w 172"/>
                  <a:gd name="T3" fmla="*/ 3 h 111"/>
                  <a:gd name="T4" fmla="*/ 3 w 172"/>
                  <a:gd name="T5" fmla="*/ 3 h 111"/>
                  <a:gd name="T6" fmla="*/ 8 w 172"/>
                  <a:gd name="T7" fmla="*/ 3 h 111"/>
                  <a:gd name="T8" fmla="*/ 11 w 172"/>
                  <a:gd name="T9" fmla="*/ 3 h 111"/>
                  <a:gd name="T10" fmla="*/ 9 w 172"/>
                  <a:gd name="T11" fmla="*/ 0 h 111"/>
                  <a:gd name="T12" fmla="*/ 1 w 172"/>
                  <a:gd name="T13" fmla="*/ 0 h 1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2"/>
                  <a:gd name="T22" fmla="*/ 0 h 111"/>
                  <a:gd name="T23" fmla="*/ 172 w 172"/>
                  <a:gd name="T24" fmla="*/ 111 h 1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2" h="111">
                    <a:moveTo>
                      <a:pt x="20" y="1"/>
                    </a:moveTo>
                    <a:lnTo>
                      <a:pt x="0" y="92"/>
                    </a:lnTo>
                    <a:lnTo>
                      <a:pt x="46" y="111"/>
                    </a:lnTo>
                    <a:lnTo>
                      <a:pt x="131" y="111"/>
                    </a:lnTo>
                    <a:lnTo>
                      <a:pt x="172" y="89"/>
                    </a:lnTo>
                    <a:lnTo>
                      <a:pt x="149" y="0"/>
                    </a:lnTo>
                    <a:lnTo>
                      <a:pt x="20" y="1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5" name="Freeform 1136"/>
              <p:cNvSpPr>
                <a:spLocks/>
              </p:cNvSpPr>
              <p:nvPr/>
            </p:nvSpPr>
            <p:spPr bwMode="gray">
              <a:xfrm>
                <a:off x="5064" y="1650"/>
                <a:ext cx="43" cy="18"/>
              </a:xfrm>
              <a:custGeom>
                <a:avLst/>
                <a:gdLst>
                  <a:gd name="T0" fmla="*/ 1 w 170"/>
                  <a:gd name="T1" fmla="*/ 0 h 106"/>
                  <a:gd name="T2" fmla="*/ 0 w 170"/>
                  <a:gd name="T3" fmla="*/ 3 h 106"/>
                  <a:gd name="T4" fmla="*/ 3 w 170"/>
                  <a:gd name="T5" fmla="*/ 3 h 106"/>
                  <a:gd name="T6" fmla="*/ 8 w 170"/>
                  <a:gd name="T7" fmla="*/ 3 h 106"/>
                  <a:gd name="T8" fmla="*/ 11 w 170"/>
                  <a:gd name="T9" fmla="*/ 2 h 106"/>
                  <a:gd name="T10" fmla="*/ 9 w 170"/>
                  <a:gd name="T11" fmla="*/ 0 h 106"/>
                  <a:gd name="T12" fmla="*/ 1 w 170"/>
                  <a:gd name="T13" fmla="*/ 0 h 10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0"/>
                  <a:gd name="T22" fmla="*/ 0 h 106"/>
                  <a:gd name="T23" fmla="*/ 170 w 170"/>
                  <a:gd name="T24" fmla="*/ 106 h 10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0" h="106">
                    <a:moveTo>
                      <a:pt x="17" y="0"/>
                    </a:moveTo>
                    <a:lnTo>
                      <a:pt x="0" y="87"/>
                    </a:lnTo>
                    <a:lnTo>
                      <a:pt x="48" y="106"/>
                    </a:lnTo>
                    <a:lnTo>
                      <a:pt x="128" y="106"/>
                    </a:lnTo>
                    <a:lnTo>
                      <a:pt x="170" y="85"/>
                    </a:lnTo>
                    <a:lnTo>
                      <a:pt x="145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36" name="Group 1137"/>
              <p:cNvGrpSpPr>
                <a:grpSpLocks/>
              </p:cNvGrpSpPr>
              <p:nvPr/>
            </p:nvGrpSpPr>
            <p:grpSpPr bwMode="auto">
              <a:xfrm>
                <a:off x="5069" y="1650"/>
                <a:ext cx="31" cy="8"/>
                <a:chOff x="5069" y="1650"/>
                <a:chExt cx="31" cy="8"/>
              </a:xfrm>
            </p:grpSpPr>
            <p:sp>
              <p:nvSpPr>
                <p:cNvPr id="341" name="Oval 1138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0" cy="8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42" name="Oval 1139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8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43" name="Oval 1140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7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337" name="Group 1141"/>
              <p:cNvGrpSpPr>
                <a:grpSpLocks/>
              </p:cNvGrpSpPr>
              <p:nvPr/>
            </p:nvGrpSpPr>
            <p:grpSpPr bwMode="auto">
              <a:xfrm>
                <a:off x="5064" y="1658"/>
                <a:ext cx="41" cy="10"/>
                <a:chOff x="5064" y="1658"/>
                <a:chExt cx="41" cy="10"/>
              </a:xfrm>
            </p:grpSpPr>
            <p:sp>
              <p:nvSpPr>
                <p:cNvPr id="338" name="Oval 1142"/>
                <p:cNvSpPr>
                  <a:spLocks noChangeArrowheads="1"/>
                </p:cNvSpPr>
                <p:nvPr/>
              </p:nvSpPr>
              <p:spPr bwMode="gray">
                <a:xfrm>
                  <a:off x="5064" y="1659"/>
                  <a:ext cx="40" cy="9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39" name="Oval 1143"/>
                <p:cNvSpPr>
                  <a:spLocks noChangeArrowheads="1"/>
                </p:cNvSpPr>
                <p:nvPr/>
              </p:nvSpPr>
              <p:spPr bwMode="gray">
                <a:xfrm>
                  <a:off x="5066" y="1659"/>
                  <a:ext cx="39" cy="9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40" name="Oval 1144"/>
                <p:cNvSpPr>
                  <a:spLocks noChangeArrowheads="1"/>
                </p:cNvSpPr>
                <p:nvPr/>
              </p:nvSpPr>
              <p:spPr bwMode="gray">
                <a:xfrm>
                  <a:off x="5066" y="1658"/>
                  <a:ext cx="39" cy="10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48" name="Oval 1145"/>
            <p:cNvSpPr>
              <a:spLocks noChangeArrowheads="1"/>
            </p:cNvSpPr>
            <p:nvPr/>
          </p:nvSpPr>
          <p:spPr bwMode="gray">
            <a:xfrm>
              <a:off x="3483" y="1559"/>
              <a:ext cx="10" cy="3"/>
            </a:xfrm>
            <a:prstGeom prst="ellipse">
              <a:avLst/>
            </a:prstGeom>
            <a:solidFill>
              <a:srgbClr val="F9AE00"/>
            </a:solidFill>
            <a:ln w="3175">
              <a:solidFill>
                <a:srgbClr val="BFBFD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9" name="Rectangle 1146"/>
            <p:cNvSpPr>
              <a:spLocks noChangeArrowheads="1"/>
            </p:cNvSpPr>
            <p:nvPr/>
          </p:nvSpPr>
          <p:spPr bwMode="gray">
            <a:xfrm>
              <a:off x="3360" y="1591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pSp>
          <p:nvGrpSpPr>
            <p:cNvPr id="150" name="Group 1147"/>
            <p:cNvGrpSpPr>
              <a:grpSpLocks/>
            </p:cNvGrpSpPr>
            <p:nvPr/>
          </p:nvGrpSpPr>
          <p:grpSpPr bwMode="auto">
            <a:xfrm>
              <a:off x="2333" y="1829"/>
              <a:ext cx="192" cy="42"/>
              <a:chOff x="4956" y="1960"/>
              <a:chExt cx="257" cy="48"/>
            </a:xfrm>
          </p:grpSpPr>
          <p:sp>
            <p:nvSpPr>
              <p:cNvPr id="331" name="Oval 1148"/>
              <p:cNvSpPr>
                <a:spLocks noChangeArrowheads="1"/>
              </p:cNvSpPr>
              <p:nvPr/>
            </p:nvSpPr>
            <p:spPr bwMode="gray">
              <a:xfrm>
                <a:off x="4956" y="1960"/>
                <a:ext cx="257" cy="48"/>
              </a:xfrm>
              <a:prstGeom prst="ellipse">
                <a:avLst/>
              </a:prstGeom>
              <a:solidFill>
                <a:srgbClr val="5F5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32" name="Oval 1149"/>
              <p:cNvSpPr>
                <a:spLocks noChangeArrowheads="1"/>
              </p:cNvSpPr>
              <p:nvPr/>
            </p:nvSpPr>
            <p:spPr bwMode="gray">
              <a:xfrm>
                <a:off x="4957" y="1961"/>
                <a:ext cx="256" cy="40"/>
              </a:xfrm>
              <a:prstGeom prst="ellipse">
                <a:avLst/>
              </a:prstGeom>
              <a:solidFill>
                <a:srgbClr val="5F5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51" name="Freeform 1150"/>
            <p:cNvSpPr>
              <a:spLocks/>
            </p:cNvSpPr>
            <p:nvPr/>
          </p:nvSpPr>
          <p:spPr bwMode="gray">
            <a:xfrm>
              <a:off x="2352" y="1857"/>
              <a:ext cx="21" cy="7"/>
            </a:xfrm>
            <a:custGeom>
              <a:avLst/>
              <a:gdLst>
                <a:gd name="T0" fmla="*/ 0 w 114"/>
                <a:gd name="T1" fmla="*/ 0 h 45"/>
                <a:gd name="T2" fmla="*/ 1 w 114"/>
                <a:gd name="T3" fmla="*/ 0 h 45"/>
                <a:gd name="T4" fmla="*/ 2 w 114"/>
                <a:gd name="T5" fmla="*/ 0 h 45"/>
                <a:gd name="T6" fmla="*/ 4 w 114"/>
                <a:gd name="T7" fmla="*/ 1 h 45"/>
                <a:gd name="T8" fmla="*/ 4 w 114"/>
                <a:gd name="T9" fmla="*/ 1 h 45"/>
                <a:gd name="T10" fmla="*/ 3 w 114"/>
                <a:gd name="T11" fmla="*/ 1 h 45"/>
                <a:gd name="T12" fmla="*/ 2 w 114"/>
                <a:gd name="T13" fmla="*/ 1 h 45"/>
                <a:gd name="T14" fmla="*/ 0 w 114"/>
                <a:gd name="T15" fmla="*/ 0 h 45"/>
                <a:gd name="T16" fmla="*/ 0 w 114"/>
                <a:gd name="T17" fmla="*/ 0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"/>
                <a:gd name="T28" fmla="*/ 0 h 45"/>
                <a:gd name="T29" fmla="*/ 114 w 114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" h="45">
                  <a:moveTo>
                    <a:pt x="0" y="0"/>
                  </a:moveTo>
                  <a:lnTo>
                    <a:pt x="33" y="9"/>
                  </a:lnTo>
                  <a:lnTo>
                    <a:pt x="71" y="17"/>
                  </a:lnTo>
                  <a:lnTo>
                    <a:pt x="112" y="26"/>
                  </a:lnTo>
                  <a:lnTo>
                    <a:pt x="114" y="45"/>
                  </a:lnTo>
                  <a:lnTo>
                    <a:pt x="85" y="39"/>
                  </a:lnTo>
                  <a:lnTo>
                    <a:pt x="47" y="29"/>
                  </a:lnTo>
                  <a:lnTo>
                    <a:pt x="3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Oval 1151"/>
            <p:cNvSpPr>
              <a:spLocks noChangeArrowheads="1"/>
            </p:cNvSpPr>
            <p:nvPr/>
          </p:nvSpPr>
          <p:spPr bwMode="gray">
            <a:xfrm>
              <a:off x="2334" y="1827"/>
              <a:ext cx="191" cy="34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3" name="Rectangle 1152"/>
            <p:cNvSpPr>
              <a:spLocks noChangeArrowheads="1"/>
            </p:cNvSpPr>
            <p:nvPr/>
          </p:nvSpPr>
          <p:spPr bwMode="gray">
            <a:xfrm>
              <a:off x="2334" y="1580"/>
              <a:ext cx="191" cy="264"/>
            </a:xfrm>
            <a:prstGeom prst="rect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" name="Oval 1153"/>
            <p:cNvSpPr>
              <a:spLocks noChangeArrowheads="1"/>
            </p:cNvSpPr>
            <p:nvPr/>
          </p:nvSpPr>
          <p:spPr bwMode="gray">
            <a:xfrm>
              <a:off x="2334" y="1565"/>
              <a:ext cx="191" cy="34"/>
            </a:xfrm>
            <a:prstGeom prst="ellipse">
              <a:avLst/>
            </a:prstGeom>
            <a:solidFill>
              <a:srgbClr val="FF1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5" name="Oval 1154"/>
            <p:cNvSpPr>
              <a:spLocks noChangeArrowheads="1"/>
            </p:cNvSpPr>
            <p:nvPr/>
          </p:nvSpPr>
          <p:spPr bwMode="gray">
            <a:xfrm>
              <a:off x="2334" y="1562"/>
              <a:ext cx="191" cy="34"/>
            </a:xfrm>
            <a:prstGeom prst="ellipse">
              <a:avLst/>
            </a:prstGeom>
            <a:solidFill>
              <a:srgbClr val="FF1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6" name="Oval 1155"/>
            <p:cNvSpPr>
              <a:spLocks noChangeArrowheads="1"/>
            </p:cNvSpPr>
            <p:nvPr/>
          </p:nvSpPr>
          <p:spPr bwMode="gray">
            <a:xfrm>
              <a:off x="2334" y="1559"/>
              <a:ext cx="190" cy="38"/>
            </a:xfrm>
            <a:prstGeom prst="ellipse">
              <a:avLst/>
            </a:prstGeom>
            <a:solidFill>
              <a:srgbClr val="00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7" name="Oval 1156"/>
            <p:cNvSpPr>
              <a:spLocks noChangeArrowheads="1"/>
            </p:cNvSpPr>
            <p:nvPr/>
          </p:nvSpPr>
          <p:spPr bwMode="gray">
            <a:xfrm>
              <a:off x="2333" y="1549"/>
              <a:ext cx="191" cy="32"/>
            </a:xfrm>
            <a:prstGeom prst="ellipse">
              <a:avLst/>
            </a:prstGeom>
            <a:solidFill>
              <a:srgbClr val="7F7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8" name="Rectangle 1157"/>
            <p:cNvSpPr>
              <a:spLocks noChangeArrowheads="1"/>
            </p:cNvSpPr>
            <p:nvPr/>
          </p:nvSpPr>
          <p:spPr bwMode="gray">
            <a:xfrm>
              <a:off x="2333" y="1557"/>
              <a:ext cx="191" cy="8"/>
            </a:xfrm>
            <a:prstGeom prst="rect">
              <a:avLst/>
            </a:prstGeom>
            <a:solidFill>
              <a:srgbClr val="7F7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59" name="Group 1158"/>
            <p:cNvGrpSpPr>
              <a:grpSpLocks/>
            </p:cNvGrpSpPr>
            <p:nvPr/>
          </p:nvGrpSpPr>
          <p:grpSpPr bwMode="auto">
            <a:xfrm>
              <a:off x="2333" y="1543"/>
              <a:ext cx="191" cy="31"/>
              <a:chOff x="4956" y="1634"/>
              <a:chExt cx="256" cy="35"/>
            </a:xfrm>
          </p:grpSpPr>
          <p:sp>
            <p:nvSpPr>
              <p:cNvPr id="329" name="Oval 1159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BFBFDF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30" name="Oval 1160"/>
              <p:cNvSpPr>
                <a:spLocks noChangeArrowheads="1"/>
              </p:cNvSpPr>
              <p:nvPr/>
            </p:nvSpPr>
            <p:spPr bwMode="gray">
              <a:xfrm>
                <a:off x="4956" y="1637"/>
                <a:ext cx="256" cy="32"/>
              </a:xfrm>
              <a:prstGeom prst="ellipse">
                <a:avLst/>
              </a:prstGeom>
              <a:solidFill>
                <a:srgbClr val="9F9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60" name="Oval 1161"/>
            <p:cNvSpPr>
              <a:spLocks noChangeArrowheads="1"/>
            </p:cNvSpPr>
            <p:nvPr/>
          </p:nvSpPr>
          <p:spPr bwMode="gray">
            <a:xfrm>
              <a:off x="2333" y="1543"/>
              <a:ext cx="190" cy="31"/>
            </a:xfrm>
            <a:prstGeom prst="ellipse">
              <a:avLst/>
            </a:prstGeom>
            <a:noFill/>
            <a:ln w="3175">
              <a:solidFill>
                <a:srgbClr val="DFD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1" name="Freeform 1162"/>
            <p:cNvSpPr>
              <a:spLocks/>
            </p:cNvSpPr>
            <p:nvPr/>
          </p:nvSpPr>
          <p:spPr bwMode="gray">
            <a:xfrm>
              <a:off x="2352" y="1570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FD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2" name="Group 1163"/>
            <p:cNvGrpSpPr>
              <a:grpSpLocks/>
            </p:cNvGrpSpPr>
            <p:nvPr/>
          </p:nvGrpSpPr>
          <p:grpSpPr bwMode="auto">
            <a:xfrm>
              <a:off x="2410" y="1547"/>
              <a:ext cx="38" cy="27"/>
              <a:chOff x="5059" y="1638"/>
              <a:chExt cx="51" cy="31"/>
            </a:xfrm>
          </p:grpSpPr>
          <p:grpSp>
            <p:nvGrpSpPr>
              <p:cNvPr id="316" name="Group 1164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15"/>
                <a:chOff x="5059" y="1638"/>
                <a:chExt cx="51" cy="15"/>
              </a:xfrm>
            </p:grpSpPr>
            <p:sp>
              <p:nvSpPr>
                <p:cNvPr id="327" name="Oval 1165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5"/>
                </a:xfrm>
                <a:prstGeom prst="ellipse">
                  <a:avLst/>
                </a:prstGeom>
                <a:noFill/>
                <a:ln w="3175">
                  <a:solidFill>
                    <a:srgbClr val="7F7F9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8" name="Oval 1166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4"/>
                </a:xfrm>
                <a:prstGeom prst="ellipse">
                  <a:avLst/>
                </a:prstGeom>
                <a:noFill/>
                <a:ln w="3175">
                  <a:solidFill>
                    <a:srgbClr val="DFD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17" name="Freeform 1167"/>
              <p:cNvSpPr>
                <a:spLocks/>
              </p:cNvSpPr>
              <p:nvPr/>
            </p:nvSpPr>
            <p:spPr bwMode="gray">
              <a:xfrm>
                <a:off x="5064" y="1650"/>
                <a:ext cx="43" cy="19"/>
              </a:xfrm>
              <a:custGeom>
                <a:avLst/>
                <a:gdLst>
                  <a:gd name="T0" fmla="*/ 1 w 172"/>
                  <a:gd name="T1" fmla="*/ 0 h 111"/>
                  <a:gd name="T2" fmla="*/ 0 w 172"/>
                  <a:gd name="T3" fmla="*/ 3 h 111"/>
                  <a:gd name="T4" fmla="*/ 3 w 172"/>
                  <a:gd name="T5" fmla="*/ 3 h 111"/>
                  <a:gd name="T6" fmla="*/ 8 w 172"/>
                  <a:gd name="T7" fmla="*/ 3 h 111"/>
                  <a:gd name="T8" fmla="*/ 11 w 172"/>
                  <a:gd name="T9" fmla="*/ 3 h 111"/>
                  <a:gd name="T10" fmla="*/ 9 w 172"/>
                  <a:gd name="T11" fmla="*/ 0 h 111"/>
                  <a:gd name="T12" fmla="*/ 1 w 172"/>
                  <a:gd name="T13" fmla="*/ 0 h 1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2"/>
                  <a:gd name="T22" fmla="*/ 0 h 111"/>
                  <a:gd name="T23" fmla="*/ 172 w 172"/>
                  <a:gd name="T24" fmla="*/ 111 h 1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2" h="111">
                    <a:moveTo>
                      <a:pt x="20" y="1"/>
                    </a:moveTo>
                    <a:lnTo>
                      <a:pt x="0" y="92"/>
                    </a:lnTo>
                    <a:lnTo>
                      <a:pt x="46" y="111"/>
                    </a:lnTo>
                    <a:lnTo>
                      <a:pt x="131" y="111"/>
                    </a:lnTo>
                    <a:lnTo>
                      <a:pt x="172" y="89"/>
                    </a:lnTo>
                    <a:lnTo>
                      <a:pt x="149" y="0"/>
                    </a:lnTo>
                    <a:lnTo>
                      <a:pt x="20" y="1"/>
                    </a:lnTo>
                    <a:close/>
                  </a:path>
                </a:pathLst>
              </a:custGeom>
              <a:solidFill>
                <a:srgbClr val="7F7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8" name="Freeform 1168"/>
              <p:cNvSpPr>
                <a:spLocks/>
              </p:cNvSpPr>
              <p:nvPr/>
            </p:nvSpPr>
            <p:spPr bwMode="gray">
              <a:xfrm>
                <a:off x="5064" y="1650"/>
                <a:ext cx="43" cy="18"/>
              </a:xfrm>
              <a:custGeom>
                <a:avLst/>
                <a:gdLst>
                  <a:gd name="T0" fmla="*/ 1 w 170"/>
                  <a:gd name="T1" fmla="*/ 0 h 106"/>
                  <a:gd name="T2" fmla="*/ 0 w 170"/>
                  <a:gd name="T3" fmla="*/ 3 h 106"/>
                  <a:gd name="T4" fmla="*/ 3 w 170"/>
                  <a:gd name="T5" fmla="*/ 3 h 106"/>
                  <a:gd name="T6" fmla="*/ 8 w 170"/>
                  <a:gd name="T7" fmla="*/ 3 h 106"/>
                  <a:gd name="T8" fmla="*/ 11 w 170"/>
                  <a:gd name="T9" fmla="*/ 2 h 106"/>
                  <a:gd name="T10" fmla="*/ 9 w 170"/>
                  <a:gd name="T11" fmla="*/ 0 h 106"/>
                  <a:gd name="T12" fmla="*/ 1 w 170"/>
                  <a:gd name="T13" fmla="*/ 0 h 10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0"/>
                  <a:gd name="T22" fmla="*/ 0 h 106"/>
                  <a:gd name="T23" fmla="*/ 170 w 170"/>
                  <a:gd name="T24" fmla="*/ 106 h 10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0" h="106">
                    <a:moveTo>
                      <a:pt x="17" y="0"/>
                    </a:moveTo>
                    <a:lnTo>
                      <a:pt x="0" y="87"/>
                    </a:lnTo>
                    <a:lnTo>
                      <a:pt x="48" y="106"/>
                    </a:lnTo>
                    <a:lnTo>
                      <a:pt x="128" y="106"/>
                    </a:lnTo>
                    <a:lnTo>
                      <a:pt x="170" y="85"/>
                    </a:lnTo>
                    <a:lnTo>
                      <a:pt x="145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BFB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19" name="Group 1169"/>
              <p:cNvGrpSpPr>
                <a:grpSpLocks/>
              </p:cNvGrpSpPr>
              <p:nvPr/>
            </p:nvGrpSpPr>
            <p:grpSpPr bwMode="auto">
              <a:xfrm>
                <a:off x="5069" y="1650"/>
                <a:ext cx="31" cy="8"/>
                <a:chOff x="5069" y="1650"/>
                <a:chExt cx="31" cy="8"/>
              </a:xfrm>
            </p:grpSpPr>
            <p:sp>
              <p:nvSpPr>
                <p:cNvPr id="324" name="Oval 1170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0" cy="8"/>
                </a:xfrm>
                <a:prstGeom prst="ellipse">
                  <a:avLst/>
                </a:prstGeom>
                <a:solidFill>
                  <a:srgbClr val="9F9FBF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5" name="Oval 1171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8"/>
                </a:xfrm>
                <a:prstGeom prst="ellipse">
                  <a:avLst/>
                </a:prstGeom>
                <a:noFill/>
                <a:ln w="3175">
                  <a:solidFill>
                    <a:srgbClr val="7F7F9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6" name="Oval 1172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7"/>
                </a:xfrm>
                <a:prstGeom prst="ellipse">
                  <a:avLst/>
                </a:prstGeom>
                <a:noFill/>
                <a:ln w="3175">
                  <a:solidFill>
                    <a:srgbClr val="DFD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320" name="Group 1173"/>
              <p:cNvGrpSpPr>
                <a:grpSpLocks/>
              </p:cNvGrpSpPr>
              <p:nvPr/>
            </p:nvGrpSpPr>
            <p:grpSpPr bwMode="auto">
              <a:xfrm>
                <a:off x="5064" y="1658"/>
                <a:ext cx="41" cy="10"/>
                <a:chOff x="5064" y="1658"/>
                <a:chExt cx="41" cy="10"/>
              </a:xfrm>
            </p:grpSpPr>
            <p:sp>
              <p:nvSpPr>
                <p:cNvPr id="321" name="Oval 1174"/>
                <p:cNvSpPr>
                  <a:spLocks noChangeArrowheads="1"/>
                </p:cNvSpPr>
                <p:nvPr/>
              </p:nvSpPr>
              <p:spPr bwMode="gray">
                <a:xfrm>
                  <a:off x="5064" y="1659"/>
                  <a:ext cx="40" cy="9"/>
                </a:xfrm>
                <a:prstGeom prst="ellipse">
                  <a:avLst/>
                </a:prstGeom>
                <a:solidFill>
                  <a:srgbClr val="9F9FBF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2" name="Oval 1175"/>
                <p:cNvSpPr>
                  <a:spLocks noChangeArrowheads="1"/>
                </p:cNvSpPr>
                <p:nvPr/>
              </p:nvSpPr>
              <p:spPr bwMode="gray">
                <a:xfrm>
                  <a:off x="5066" y="1659"/>
                  <a:ext cx="39" cy="9"/>
                </a:xfrm>
                <a:prstGeom prst="ellipse">
                  <a:avLst/>
                </a:prstGeom>
                <a:noFill/>
                <a:ln w="3175">
                  <a:solidFill>
                    <a:srgbClr val="7F7F9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23" name="Oval 1176"/>
                <p:cNvSpPr>
                  <a:spLocks noChangeArrowheads="1"/>
                </p:cNvSpPr>
                <p:nvPr/>
              </p:nvSpPr>
              <p:spPr bwMode="gray">
                <a:xfrm>
                  <a:off x="5066" y="1658"/>
                  <a:ext cx="39" cy="10"/>
                </a:xfrm>
                <a:prstGeom prst="ellipse">
                  <a:avLst/>
                </a:prstGeom>
                <a:noFill/>
                <a:ln w="3175">
                  <a:solidFill>
                    <a:srgbClr val="DFD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163" name="Oval 1177"/>
            <p:cNvSpPr>
              <a:spLocks noChangeArrowheads="1"/>
            </p:cNvSpPr>
            <p:nvPr/>
          </p:nvSpPr>
          <p:spPr bwMode="gray">
            <a:xfrm>
              <a:off x="2424" y="1559"/>
              <a:ext cx="10" cy="3"/>
            </a:xfrm>
            <a:prstGeom prst="ellipse">
              <a:avLst/>
            </a:prstGeom>
            <a:solidFill>
              <a:srgbClr val="7F7F9F"/>
            </a:solidFill>
            <a:ln w="3175">
              <a:solidFill>
                <a:srgbClr val="BFBFD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4" name="Rectangle 1178"/>
            <p:cNvSpPr>
              <a:spLocks noChangeArrowheads="1"/>
            </p:cNvSpPr>
            <p:nvPr/>
          </p:nvSpPr>
          <p:spPr bwMode="gray">
            <a:xfrm>
              <a:off x="2326" y="1591"/>
              <a:ext cx="205" cy="250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7</a:t>
              </a:r>
            </a:p>
          </p:txBody>
        </p:sp>
        <p:grpSp>
          <p:nvGrpSpPr>
            <p:cNvPr id="165" name="Group 1179"/>
            <p:cNvGrpSpPr>
              <a:grpSpLocks/>
            </p:cNvGrpSpPr>
            <p:nvPr/>
          </p:nvGrpSpPr>
          <p:grpSpPr bwMode="auto">
            <a:xfrm>
              <a:off x="2848" y="1839"/>
              <a:ext cx="199" cy="43"/>
              <a:chOff x="2975" y="3471"/>
              <a:chExt cx="161" cy="37"/>
            </a:xfrm>
          </p:grpSpPr>
          <p:grpSp>
            <p:nvGrpSpPr>
              <p:cNvPr id="312" name="Group 1180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sp>
              <p:nvSpPr>
                <p:cNvPr id="314" name="Oval 1181"/>
                <p:cNvSpPr>
                  <a:spLocks noChangeArrowheads="1"/>
                </p:cNvSpPr>
                <p:nvPr/>
              </p:nvSpPr>
              <p:spPr bwMode="gray">
                <a:xfrm>
                  <a:off x="2975" y="3471"/>
                  <a:ext cx="161" cy="3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15" name="Oval 1182"/>
                <p:cNvSpPr>
                  <a:spLocks noChangeArrowheads="1"/>
                </p:cNvSpPr>
                <p:nvPr/>
              </p:nvSpPr>
              <p:spPr bwMode="gray">
                <a:xfrm>
                  <a:off x="2975" y="3472"/>
                  <a:ext cx="161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13" name="Freeform 1183"/>
              <p:cNvSpPr>
                <a:spLocks/>
              </p:cNvSpPr>
              <p:nvPr/>
            </p:nvSpPr>
            <p:spPr bwMode="gray">
              <a:xfrm>
                <a:off x="2991" y="3496"/>
                <a:ext cx="18" cy="5"/>
              </a:xfrm>
              <a:custGeom>
                <a:avLst/>
                <a:gdLst>
                  <a:gd name="T0" fmla="*/ 0 w 124"/>
                  <a:gd name="T1" fmla="*/ 0 h 41"/>
                  <a:gd name="T2" fmla="*/ 1 w 124"/>
                  <a:gd name="T3" fmla="*/ 0 h 41"/>
                  <a:gd name="T4" fmla="*/ 2 w 124"/>
                  <a:gd name="T5" fmla="*/ 0 h 41"/>
                  <a:gd name="T6" fmla="*/ 3 w 124"/>
                  <a:gd name="T7" fmla="*/ 0 h 41"/>
                  <a:gd name="T8" fmla="*/ 3 w 124"/>
                  <a:gd name="T9" fmla="*/ 1 h 41"/>
                  <a:gd name="T10" fmla="*/ 2 w 124"/>
                  <a:gd name="T11" fmla="*/ 0 h 41"/>
                  <a:gd name="T12" fmla="*/ 1 w 124"/>
                  <a:gd name="T13" fmla="*/ 0 h 41"/>
                  <a:gd name="T14" fmla="*/ 0 w 124"/>
                  <a:gd name="T15" fmla="*/ 0 h 41"/>
                  <a:gd name="T16" fmla="*/ 0 w 124"/>
                  <a:gd name="T17" fmla="*/ 0 h 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4"/>
                  <a:gd name="T28" fmla="*/ 0 h 41"/>
                  <a:gd name="T29" fmla="*/ 124 w 124"/>
                  <a:gd name="T30" fmla="*/ 41 h 4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4" h="41">
                    <a:moveTo>
                      <a:pt x="0" y="0"/>
                    </a:moveTo>
                    <a:lnTo>
                      <a:pt x="35" y="8"/>
                    </a:lnTo>
                    <a:lnTo>
                      <a:pt x="77" y="15"/>
                    </a:lnTo>
                    <a:lnTo>
                      <a:pt x="122" y="24"/>
                    </a:lnTo>
                    <a:lnTo>
                      <a:pt x="124" y="41"/>
                    </a:lnTo>
                    <a:lnTo>
                      <a:pt x="92" y="36"/>
                    </a:lnTo>
                    <a:lnTo>
                      <a:pt x="50" y="27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66" name="Oval 1184"/>
            <p:cNvSpPr>
              <a:spLocks noChangeArrowheads="1"/>
            </p:cNvSpPr>
            <p:nvPr/>
          </p:nvSpPr>
          <p:spPr bwMode="gray">
            <a:xfrm>
              <a:off x="2848" y="1837"/>
              <a:ext cx="199" cy="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7" name="Rectangle 1185"/>
            <p:cNvSpPr>
              <a:spLocks noChangeArrowheads="1"/>
            </p:cNvSpPr>
            <p:nvPr/>
          </p:nvSpPr>
          <p:spPr bwMode="gray">
            <a:xfrm>
              <a:off x="2849" y="1581"/>
              <a:ext cx="198" cy="2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68" name="Group 1186"/>
            <p:cNvGrpSpPr>
              <a:grpSpLocks/>
            </p:cNvGrpSpPr>
            <p:nvPr/>
          </p:nvGrpSpPr>
          <p:grpSpPr bwMode="auto">
            <a:xfrm>
              <a:off x="2849" y="1563"/>
              <a:ext cx="198" cy="38"/>
              <a:chOff x="2976" y="3234"/>
              <a:chExt cx="160" cy="33"/>
            </a:xfrm>
          </p:grpSpPr>
          <p:sp>
            <p:nvSpPr>
              <p:cNvPr id="310" name="Oval 1187"/>
              <p:cNvSpPr>
                <a:spLocks noChangeArrowheads="1"/>
              </p:cNvSpPr>
              <p:nvPr/>
            </p:nvSpPr>
            <p:spPr bwMode="gray">
              <a:xfrm>
                <a:off x="2976" y="3237"/>
                <a:ext cx="160" cy="3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11" name="Oval 1188"/>
              <p:cNvSpPr>
                <a:spLocks noChangeArrowheads="1"/>
              </p:cNvSpPr>
              <p:nvPr/>
            </p:nvSpPr>
            <p:spPr bwMode="gray">
              <a:xfrm>
                <a:off x="2976" y="3234"/>
                <a:ext cx="160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69" name="Oval 1189"/>
            <p:cNvSpPr>
              <a:spLocks noChangeArrowheads="1"/>
            </p:cNvSpPr>
            <p:nvPr/>
          </p:nvSpPr>
          <p:spPr bwMode="gray">
            <a:xfrm>
              <a:off x="2849" y="1559"/>
              <a:ext cx="198" cy="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70" name="Group 1190"/>
            <p:cNvGrpSpPr>
              <a:grpSpLocks/>
            </p:cNvGrpSpPr>
            <p:nvPr/>
          </p:nvGrpSpPr>
          <p:grpSpPr bwMode="auto">
            <a:xfrm>
              <a:off x="2848" y="1550"/>
              <a:ext cx="199" cy="33"/>
              <a:chOff x="2975" y="3223"/>
              <a:chExt cx="161" cy="28"/>
            </a:xfrm>
          </p:grpSpPr>
          <p:sp>
            <p:nvSpPr>
              <p:cNvPr id="308" name="Oval 1191"/>
              <p:cNvSpPr>
                <a:spLocks noChangeArrowheads="1"/>
              </p:cNvSpPr>
              <p:nvPr/>
            </p:nvSpPr>
            <p:spPr bwMode="gray">
              <a:xfrm>
                <a:off x="2975" y="3223"/>
                <a:ext cx="161" cy="2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09" name="Rectangle 1192"/>
              <p:cNvSpPr>
                <a:spLocks noChangeArrowheads="1"/>
              </p:cNvSpPr>
              <p:nvPr/>
            </p:nvSpPr>
            <p:spPr bwMode="gray">
              <a:xfrm>
                <a:off x="2975" y="3230"/>
                <a:ext cx="161" cy="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71" name="Group 1193"/>
            <p:cNvGrpSpPr>
              <a:grpSpLocks/>
            </p:cNvGrpSpPr>
            <p:nvPr/>
          </p:nvGrpSpPr>
          <p:grpSpPr bwMode="auto">
            <a:xfrm>
              <a:off x="2847" y="1543"/>
              <a:ext cx="200" cy="34"/>
              <a:chOff x="2974" y="3217"/>
              <a:chExt cx="162" cy="29"/>
            </a:xfrm>
          </p:grpSpPr>
          <p:grpSp>
            <p:nvGrpSpPr>
              <p:cNvPr id="304" name="Group 1194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sp>
              <p:nvSpPr>
                <p:cNvPr id="306" name="Oval 1195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307" name="Oval 1196"/>
                <p:cNvSpPr>
                  <a:spLocks noChangeArrowheads="1"/>
                </p:cNvSpPr>
                <p:nvPr/>
              </p:nvSpPr>
              <p:spPr bwMode="gray">
                <a:xfrm>
                  <a:off x="2975" y="3220"/>
                  <a:ext cx="161" cy="2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305" name="Oval 1197"/>
              <p:cNvSpPr>
                <a:spLocks noChangeArrowheads="1"/>
              </p:cNvSpPr>
              <p:nvPr/>
            </p:nvSpPr>
            <p:spPr bwMode="gray">
              <a:xfrm>
                <a:off x="2974" y="3217"/>
                <a:ext cx="162" cy="29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72" name="Freeform 1198"/>
            <p:cNvSpPr>
              <a:spLocks/>
            </p:cNvSpPr>
            <p:nvPr/>
          </p:nvSpPr>
          <p:spPr bwMode="gray">
            <a:xfrm>
              <a:off x="2868" y="1571"/>
              <a:ext cx="22" cy="6"/>
            </a:xfrm>
            <a:custGeom>
              <a:avLst/>
              <a:gdLst>
                <a:gd name="T0" fmla="*/ 0 w 123"/>
                <a:gd name="T1" fmla="*/ 0 h 36"/>
                <a:gd name="T2" fmla="*/ 1 w 123"/>
                <a:gd name="T3" fmla="*/ 0 h 36"/>
                <a:gd name="T4" fmla="*/ 3 w 123"/>
                <a:gd name="T5" fmla="*/ 0 h 36"/>
                <a:gd name="T6" fmla="*/ 4 w 123"/>
                <a:gd name="T7" fmla="*/ 0 h 36"/>
                <a:gd name="T8" fmla="*/ 4 w 123"/>
                <a:gd name="T9" fmla="*/ 1 h 36"/>
                <a:gd name="T10" fmla="*/ 3 w 123"/>
                <a:gd name="T11" fmla="*/ 1 h 36"/>
                <a:gd name="T12" fmla="*/ 2 w 123"/>
                <a:gd name="T13" fmla="*/ 1 h 36"/>
                <a:gd name="T14" fmla="*/ 0 w 123"/>
                <a:gd name="T15" fmla="*/ 0 h 36"/>
                <a:gd name="T16" fmla="*/ 0 w 123"/>
                <a:gd name="T17" fmla="*/ 0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3"/>
                <a:gd name="T28" fmla="*/ 0 h 36"/>
                <a:gd name="T29" fmla="*/ 123 w 123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3" h="36">
                  <a:moveTo>
                    <a:pt x="0" y="0"/>
                  </a:moveTo>
                  <a:lnTo>
                    <a:pt x="35" y="6"/>
                  </a:lnTo>
                  <a:lnTo>
                    <a:pt x="77" y="14"/>
                  </a:lnTo>
                  <a:lnTo>
                    <a:pt x="122" y="21"/>
                  </a:lnTo>
                  <a:lnTo>
                    <a:pt x="123" y="36"/>
                  </a:lnTo>
                  <a:lnTo>
                    <a:pt x="91" y="33"/>
                  </a:lnTo>
                  <a:lnTo>
                    <a:pt x="49" y="24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73" name="Group 1199"/>
            <p:cNvGrpSpPr>
              <a:grpSpLocks/>
            </p:cNvGrpSpPr>
            <p:nvPr/>
          </p:nvGrpSpPr>
          <p:grpSpPr bwMode="auto">
            <a:xfrm>
              <a:off x="2927" y="1546"/>
              <a:ext cx="41" cy="30"/>
              <a:chOff x="3039" y="3220"/>
              <a:chExt cx="33" cy="25"/>
            </a:xfrm>
          </p:grpSpPr>
          <p:grpSp>
            <p:nvGrpSpPr>
              <p:cNvPr id="289" name="Group 1200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291" name="Group 1201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13"/>
                  <a:chOff x="3039" y="3220"/>
                  <a:chExt cx="33" cy="13"/>
                </a:xfrm>
              </p:grpSpPr>
              <p:sp>
                <p:nvSpPr>
                  <p:cNvPr id="302" name="Oval 1202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3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03" name="Oval 1203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2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292" name="Freeform 1204"/>
                <p:cNvSpPr>
                  <a:spLocks/>
                </p:cNvSpPr>
                <p:nvPr/>
              </p:nvSpPr>
              <p:spPr bwMode="gray">
                <a:xfrm>
                  <a:off x="3042" y="3230"/>
                  <a:ext cx="27" cy="15"/>
                </a:xfrm>
                <a:custGeom>
                  <a:avLst/>
                  <a:gdLst>
                    <a:gd name="T0" fmla="*/ 0 w 189"/>
                    <a:gd name="T1" fmla="*/ 0 h 102"/>
                    <a:gd name="T2" fmla="*/ 0 w 189"/>
                    <a:gd name="T3" fmla="*/ 2 h 102"/>
                    <a:gd name="T4" fmla="*/ 1 w 189"/>
                    <a:gd name="T5" fmla="*/ 2 h 102"/>
                    <a:gd name="T6" fmla="*/ 3 w 189"/>
                    <a:gd name="T7" fmla="*/ 2 h 102"/>
                    <a:gd name="T8" fmla="*/ 4 w 189"/>
                    <a:gd name="T9" fmla="*/ 2 h 102"/>
                    <a:gd name="T10" fmla="*/ 3 w 189"/>
                    <a:gd name="T11" fmla="*/ 0 h 102"/>
                    <a:gd name="T12" fmla="*/ 0 w 189"/>
                    <a:gd name="T13" fmla="*/ 0 h 10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9"/>
                    <a:gd name="T22" fmla="*/ 0 h 102"/>
                    <a:gd name="T23" fmla="*/ 189 w 189"/>
                    <a:gd name="T24" fmla="*/ 102 h 10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9" h="102">
                      <a:moveTo>
                        <a:pt x="22" y="1"/>
                      </a:moveTo>
                      <a:lnTo>
                        <a:pt x="0" y="84"/>
                      </a:lnTo>
                      <a:lnTo>
                        <a:pt x="50" y="102"/>
                      </a:lnTo>
                      <a:lnTo>
                        <a:pt x="144" y="102"/>
                      </a:lnTo>
                      <a:lnTo>
                        <a:pt x="189" y="81"/>
                      </a:lnTo>
                      <a:lnTo>
                        <a:pt x="164" y="0"/>
                      </a:lnTo>
                      <a:lnTo>
                        <a:pt x="22" y="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3" name="Freeform 1205"/>
                <p:cNvSpPr>
                  <a:spLocks/>
                </p:cNvSpPr>
                <p:nvPr/>
              </p:nvSpPr>
              <p:spPr bwMode="gray">
                <a:xfrm>
                  <a:off x="3043" y="3230"/>
                  <a:ext cx="26" cy="14"/>
                </a:xfrm>
                <a:custGeom>
                  <a:avLst/>
                  <a:gdLst>
                    <a:gd name="T0" fmla="*/ 0 w 187"/>
                    <a:gd name="T1" fmla="*/ 0 h 97"/>
                    <a:gd name="T2" fmla="*/ 0 w 187"/>
                    <a:gd name="T3" fmla="*/ 2 h 97"/>
                    <a:gd name="T4" fmla="*/ 1 w 187"/>
                    <a:gd name="T5" fmla="*/ 2 h 97"/>
                    <a:gd name="T6" fmla="*/ 3 w 187"/>
                    <a:gd name="T7" fmla="*/ 2 h 97"/>
                    <a:gd name="T8" fmla="*/ 4 w 187"/>
                    <a:gd name="T9" fmla="*/ 2 h 97"/>
                    <a:gd name="T10" fmla="*/ 3 w 187"/>
                    <a:gd name="T11" fmla="*/ 0 h 97"/>
                    <a:gd name="T12" fmla="*/ 0 w 187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7"/>
                    <a:gd name="T22" fmla="*/ 0 h 97"/>
                    <a:gd name="T23" fmla="*/ 187 w 187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7" h="97">
                      <a:moveTo>
                        <a:pt x="19" y="0"/>
                      </a:moveTo>
                      <a:lnTo>
                        <a:pt x="0" y="79"/>
                      </a:lnTo>
                      <a:lnTo>
                        <a:pt x="53" y="97"/>
                      </a:lnTo>
                      <a:lnTo>
                        <a:pt x="141" y="97"/>
                      </a:lnTo>
                      <a:lnTo>
                        <a:pt x="187" y="78"/>
                      </a:lnTo>
                      <a:lnTo>
                        <a:pt x="159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294" name="Group 1206"/>
                <p:cNvGrpSpPr>
                  <a:grpSpLocks/>
                </p:cNvGrpSpPr>
                <p:nvPr/>
              </p:nvGrpSpPr>
              <p:grpSpPr bwMode="auto">
                <a:xfrm>
                  <a:off x="3045" y="3229"/>
                  <a:ext cx="21" cy="8"/>
                  <a:chOff x="3045" y="3229"/>
                  <a:chExt cx="21" cy="8"/>
                </a:xfrm>
              </p:grpSpPr>
              <p:sp>
                <p:nvSpPr>
                  <p:cNvPr id="299" name="Oval 1207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0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00" name="Oval 1208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301" name="Oval 1209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7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295" name="Group 1210"/>
                <p:cNvGrpSpPr>
                  <a:grpSpLocks/>
                </p:cNvGrpSpPr>
                <p:nvPr/>
              </p:nvGrpSpPr>
              <p:grpSpPr bwMode="auto">
                <a:xfrm>
                  <a:off x="3042" y="3235"/>
                  <a:ext cx="27" cy="10"/>
                  <a:chOff x="3042" y="3235"/>
                  <a:chExt cx="27" cy="10"/>
                </a:xfrm>
              </p:grpSpPr>
              <p:sp>
                <p:nvSpPr>
                  <p:cNvPr id="296" name="Oval 1211"/>
                  <p:cNvSpPr>
                    <a:spLocks noChangeArrowheads="1"/>
                  </p:cNvSpPr>
                  <p:nvPr/>
                </p:nvSpPr>
                <p:spPr bwMode="gray">
                  <a:xfrm>
                    <a:off x="3042" y="3236"/>
                    <a:ext cx="27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97" name="Oval 1212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6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98" name="Oval 1213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5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290" name="Oval 1214"/>
              <p:cNvSpPr>
                <a:spLocks noChangeArrowheads="1"/>
              </p:cNvSpPr>
              <p:nvPr/>
            </p:nvSpPr>
            <p:spPr bwMode="gray">
              <a:xfrm>
                <a:off x="3051" y="3231"/>
                <a:ext cx="9" cy="4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74" name="Rectangle 1215"/>
            <p:cNvSpPr>
              <a:spLocks noChangeArrowheads="1"/>
            </p:cNvSpPr>
            <p:nvPr/>
          </p:nvSpPr>
          <p:spPr bwMode="gray">
            <a:xfrm>
              <a:off x="2841" y="1579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75" name="Group 1216"/>
            <p:cNvGrpSpPr>
              <a:grpSpLocks/>
            </p:cNvGrpSpPr>
            <p:nvPr/>
          </p:nvGrpSpPr>
          <p:grpSpPr bwMode="auto">
            <a:xfrm>
              <a:off x="3863" y="1839"/>
              <a:ext cx="199" cy="43"/>
              <a:chOff x="2975" y="3471"/>
              <a:chExt cx="161" cy="37"/>
            </a:xfrm>
          </p:grpSpPr>
          <p:grpSp>
            <p:nvGrpSpPr>
              <p:cNvPr id="285" name="Group 1217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sp>
              <p:nvSpPr>
                <p:cNvPr id="287" name="Oval 1218"/>
                <p:cNvSpPr>
                  <a:spLocks noChangeArrowheads="1"/>
                </p:cNvSpPr>
                <p:nvPr/>
              </p:nvSpPr>
              <p:spPr bwMode="gray">
                <a:xfrm>
                  <a:off x="2975" y="3471"/>
                  <a:ext cx="161" cy="3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88" name="Oval 1219"/>
                <p:cNvSpPr>
                  <a:spLocks noChangeArrowheads="1"/>
                </p:cNvSpPr>
                <p:nvPr/>
              </p:nvSpPr>
              <p:spPr bwMode="gray">
                <a:xfrm>
                  <a:off x="2975" y="3472"/>
                  <a:ext cx="161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86" name="Freeform 1220"/>
              <p:cNvSpPr>
                <a:spLocks/>
              </p:cNvSpPr>
              <p:nvPr/>
            </p:nvSpPr>
            <p:spPr bwMode="gray">
              <a:xfrm>
                <a:off x="2991" y="3496"/>
                <a:ext cx="18" cy="5"/>
              </a:xfrm>
              <a:custGeom>
                <a:avLst/>
                <a:gdLst>
                  <a:gd name="T0" fmla="*/ 0 w 124"/>
                  <a:gd name="T1" fmla="*/ 0 h 41"/>
                  <a:gd name="T2" fmla="*/ 1 w 124"/>
                  <a:gd name="T3" fmla="*/ 0 h 41"/>
                  <a:gd name="T4" fmla="*/ 2 w 124"/>
                  <a:gd name="T5" fmla="*/ 0 h 41"/>
                  <a:gd name="T6" fmla="*/ 3 w 124"/>
                  <a:gd name="T7" fmla="*/ 0 h 41"/>
                  <a:gd name="T8" fmla="*/ 3 w 124"/>
                  <a:gd name="T9" fmla="*/ 1 h 41"/>
                  <a:gd name="T10" fmla="*/ 2 w 124"/>
                  <a:gd name="T11" fmla="*/ 0 h 41"/>
                  <a:gd name="T12" fmla="*/ 1 w 124"/>
                  <a:gd name="T13" fmla="*/ 0 h 41"/>
                  <a:gd name="T14" fmla="*/ 0 w 124"/>
                  <a:gd name="T15" fmla="*/ 0 h 41"/>
                  <a:gd name="T16" fmla="*/ 0 w 124"/>
                  <a:gd name="T17" fmla="*/ 0 h 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4"/>
                  <a:gd name="T28" fmla="*/ 0 h 41"/>
                  <a:gd name="T29" fmla="*/ 124 w 124"/>
                  <a:gd name="T30" fmla="*/ 41 h 4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4" h="41">
                    <a:moveTo>
                      <a:pt x="0" y="0"/>
                    </a:moveTo>
                    <a:lnTo>
                      <a:pt x="35" y="8"/>
                    </a:lnTo>
                    <a:lnTo>
                      <a:pt x="77" y="15"/>
                    </a:lnTo>
                    <a:lnTo>
                      <a:pt x="122" y="24"/>
                    </a:lnTo>
                    <a:lnTo>
                      <a:pt x="124" y="41"/>
                    </a:lnTo>
                    <a:lnTo>
                      <a:pt x="92" y="36"/>
                    </a:lnTo>
                    <a:lnTo>
                      <a:pt x="50" y="27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76" name="Oval 1221"/>
            <p:cNvSpPr>
              <a:spLocks noChangeArrowheads="1"/>
            </p:cNvSpPr>
            <p:nvPr/>
          </p:nvSpPr>
          <p:spPr bwMode="gray">
            <a:xfrm>
              <a:off x="3863" y="1837"/>
              <a:ext cx="199" cy="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77" name="Rectangle 1222"/>
            <p:cNvSpPr>
              <a:spLocks noChangeArrowheads="1"/>
            </p:cNvSpPr>
            <p:nvPr/>
          </p:nvSpPr>
          <p:spPr bwMode="gray">
            <a:xfrm>
              <a:off x="3864" y="1581"/>
              <a:ext cx="198" cy="2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78" name="Group 1223"/>
            <p:cNvGrpSpPr>
              <a:grpSpLocks/>
            </p:cNvGrpSpPr>
            <p:nvPr/>
          </p:nvGrpSpPr>
          <p:grpSpPr bwMode="auto">
            <a:xfrm>
              <a:off x="3864" y="1563"/>
              <a:ext cx="198" cy="38"/>
              <a:chOff x="2976" y="3234"/>
              <a:chExt cx="160" cy="33"/>
            </a:xfrm>
          </p:grpSpPr>
          <p:sp>
            <p:nvSpPr>
              <p:cNvPr id="283" name="Oval 1224"/>
              <p:cNvSpPr>
                <a:spLocks noChangeArrowheads="1"/>
              </p:cNvSpPr>
              <p:nvPr/>
            </p:nvSpPr>
            <p:spPr bwMode="gray">
              <a:xfrm>
                <a:off x="2976" y="3237"/>
                <a:ext cx="160" cy="3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84" name="Oval 1225"/>
              <p:cNvSpPr>
                <a:spLocks noChangeArrowheads="1"/>
              </p:cNvSpPr>
              <p:nvPr/>
            </p:nvSpPr>
            <p:spPr bwMode="gray">
              <a:xfrm>
                <a:off x="2976" y="3234"/>
                <a:ext cx="160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79" name="Oval 1226"/>
            <p:cNvSpPr>
              <a:spLocks noChangeArrowheads="1"/>
            </p:cNvSpPr>
            <p:nvPr/>
          </p:nvSpPr>
          <p:spPr bwMode="gray">
            <a:xfrm>
              <a:off x="3864" y="1559"/>
              <a:ext cx="198" cy="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80" name="Group 1227"/>
            <p:cNvGrpSpPr>
              <a:grpSpLocks/>
            </p:cNvGrpSpPr>
            <p:nvPr/>
          </p:nvGrpSpPr>
          <p:grpSpPr bwMode="auto">
            <a:xfrm>
              <a:off x="3863" y="1550"/>
              <a:ext cx="199" cy="33"/>
              <a:chOff x="2975" y="3223"/>
              <a:chExt cx="161" cy="28"/>
            </a:xfrm>
          </p:grpSpPr>
          <p:sp>
            <p:nvSpPr>
              <p:cNvPr id="281" name="Oval 1228"/>
              <p:cNvSpPr>
                <a:spLocks noChangeArrowheads="1"/>
              </p:cNvSpPr>
              <p:nvPr/>
            </p:nvSpPr>
            <p:spPr bwMode="gray">
              <a:xfrm>
                <a:off x="2975" y="3223"/>
                <a:ext cx="161" cy="2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82" name="Rectangle 1229"/>
              <p:cNvSpPr>
                <a:spLocks noChangeArrowheads="1"/>
              </p:cNvSpPr>
              <p:nvPr/>
            </p:nvSpPr>
            <p:spPr bwMode="gray">
              <a:xfrm>
                <a:off x="2975" y="3230"/>
                <a:ext cx="161" cy="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81" name="Group 1230"/>
            <p:cNvGrpSpPr>
              <a:grpSpLocks/>
            </p:cNvGrpSpPr>
            <p:nvPr/>
          </p:nvGrpSpPr>
          <p:grpSpPr bwMode="auto">
            <a:xfrm>
              <a:off x="3862" y="1543"/>
              <a:ext cx="200" cy="34"/>
              <a:chOff x="2974" y="3217"/>
              <a:chExt cx="162" cy="29"/>
            </a:xfrm>
          </p:grpSpPr>
          <p:grpSp>
            <p:nvGrpSpPr>
              <p:cNvPr id="277" name="Group 1231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sp>
              <p:nvSpPr>
                <p:cNvPr id="279" name="Oval 1232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80" name="Oval 1233"/>
                <p:cNvSpPr>
                  <a:spLocks noChangeArrowheads="1"/>
                </p:cNvSpPr>
                <p:nvPr/>
              </p:nvSpPr>
              <p:spPr bwMode="gray">
                <a:xfrm>
                  <a:off x="2975" y="3220"/>
                  <a:ext cx="161" cy="2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78" name="Oval 1234"/>
              <p:cNvSpPr>
                <a:spLocks noChangeArrowheads="1"/>
              </p:cNvSpPr>
              <p:nvPr/>
            </p:nvSpPr>
            <p:spPr bwMode="gray">
              <a:xfrm>
                <a:off x="2974" y="3217"/>
                <a:ext cx="162" cy="29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82" name="Freeform 1235"/>
            <p:cNvSpPr>
              <a:spLocks/>
            </p:cNvSpPr>
            <p:nvPr/>
          </p:nvSpPr>
          <p:spPr bwMode="gray">
            <a:xfrm>
              <a:off x="3883" y="1571"/>
              <a:ext cx="22" cy="6"/>
            </a:xfrm>
            <a:custGeom>
              <a:avLst/>
              <a:gdLst>
                <a:gd name="T0" fmla="*/ 0 w 123"/>
                <a:gd name="T1" fmla="*/ 0 h 36"/>
                <a:gd name="T2" fmla="*/ 1 w 123"/>
                <a:gd name="T3" fmla="*/ 0 h 36"/>
                <a:gd name="T4" fmla="*/ 3 w 123"/>
                <a:gd name="T5" fmla="*/ 0 h 36"/>
                <a:gd name="T6" fmla="*/ 4 w 123"/>
                <a:gd name="T7" fmla="*/ 0 h 36"/>
                <a:gd name="T8" fmla="*/ 4 w 123"/>
                <a:gd name="T9" fmla="*/ 1 h 36"/>
                <a:gd name="T10" fmla="*/ 3 w 123"/>
                <a:gd name="T11" fmla="*/ 1 h 36"/>
                <a:gd name="T12" fmla="*/ 2 w 123"/>
                <a:gd name="T13" fmla="*/ 1 h 36"/>
                <a:gd name="T14" fmla="*/ 0 w 123"/>
                <a:gd name="T15" fmla="*/ 0 h 36"/>
                <a:gd name="T16" fmla="*/ 0 w 123"/>
                <a:gd name="T17" fmla="*/ 0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3"/>
                <a:gd name="T28" fmla="*/ 0 h 36"/>
                <a:gd name="T29" fmla="*/ 123 w 123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3" h="36">
                  <a:moveTo>
                    <a:pt x="0" y="0"/>
                  </a:moveTo>
                  <a:lnTo>
                    <a:pt x="35" y="6"/>
                  </a:lnTo>
                  <a:lnTo>
                    <a:pt x="77" y="14"/>
                  </a:lnTo>
                  <a:lnTo>
                    <a:pt x="122" y="21"/>
                  </a:lnTo>
                  <a:lnTo>
                    <a:pt x="123" y="36"/>
                  </a:lnTo>
                  <a:lnTo>
                    <a:pt x="91" y="33"/>
                  </a:lnTo>
                  <a:lnTo>
                    <a:pt x="49" y="24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83" name="Group 1236"/>
            <p:cNvGrpSpPr>
              <a:grpSpLocks/>
            </p:cNvGrpSpPr>
            <p:nvPr/>
          </p:nvGrpSpPr>
          <p:grpSpPr bwMode="auto">
            <a:xfrm>
              <a:off x="3942" y="1546"/>
              <a:ext cx="41" cy="30"/>
              <a:chOff x="3039" y="3220"/>
              <a:chExt cx="33" cy="25"/>
            </a:xfrm>
          </p:grpSpPr>
          <p:grpSp>
            <p:nvGrpSpPr>
              <p:cNvPr id="262" name="Group 1237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264" name="Group 1238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13"/>
                  <a:chOff x="3039" y="3220"/>
                  <a:chExt cx="33" cy="13"/>
                </a:xfrm>
              </p:grpSpPr>
              <p:sp>
                <p:nvSpPr>
                  <p:cNvPr id="275" name="Oval 1239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3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6" name="Oval 1240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2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265" name="Freeform 1241"/>
                <p:cNvSpPr>
                  <a:spLocks/>
                </p:cNvSpPr>
                <p:nvPr/>
              </p:nvSpPr>
              <p:spPr bwMode="gray">
                <a:xfrm>
                  <a:off x="3042" y="3230"/>
                  <a:ext cx="27" cy="15"/>
                </a:xfrm>
                <a:custGeom>
                  <a:avLst/>
                  <a:gdLst>
                    <a:gd name="T0" fmla="*/ 0 w 189"/>
                    <a:gd name="T1" fmla="*/ 0 h 102"/>
                    <a:gd name="T2" fmla="*/ 0 w 189"/>
                    <a:gd name="T3" fmla="*/ 2 h 102"/>
                    <a:gd name="T4" fmla="*/ 1 w 189"/>
                    <a:gd name="T5" fmla="*/ 2 h 102"/>
                    <a:gd name="T6" fmla="*/ 3 w 189"/>
                    <a:gd name="T7" fmla="*/ 2 h 102"/>
                    <a:gd name="T8" fmla="*/ 4 w 189"/>
                    <a:gd name="T9" fmla="*/ 2 h 102"/>
                    <a:gd name="T10" fmla="*/ 3 w 189"/>
                    <a:gd name="T11" fmla="*/ 0 h 102"/>
                    <a:gd name="T12" fmla="*/ 0 w 189"/>
                    <a:gd name="T13" fmla="*/ 0 h 10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9"/>
                    <a:gd name="T22" fmla="*/ 0 h 102"/>
                    <a:gd name="T23" fmla="*/ 189 w 189"/>
                    <a:gd name="T24" fmla="*/ 102 h 10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9" h="102">
                      <a:moveTo>
                        <a:pt x="22" y="1"/>
                      </a:moveTo>
                      <a:lnTo>
                        <a:pt x="0" y="84"/>
                      </a:lnTo>
                      <a:lnTo>
                        <a:pt x="50" y="102"/>
                      </a:lnTo>
                      <a:lnTo>
                        <a:pt x="144" y="102"/>
                      </a:lnTo>
                      <a:lnTo>
                        <a:pt x="189" y="81"/>
                      </a:lnTo>
                      <a:lnTo>
                        <a:pt x="164" y="0"/>
                      </a:lnTo>
                      <a:lnTo>
                        <a:pt x="22" y="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66" name="Freeform 1242"/>
                <p:cNvSpPr>
                  <a:spLocks/>
                </p:cNvSpPr>
                <p:nvPr/>
              </p:nvSpPr>
              <p:spPr bwMode="gray">
                <a:xfrm>
                  <a:off x="3043" y="3230"/>
                  <a:ext cx="26" cy="14"/>
                </a:xfrm>
                <a:custGeom>
                  <a:avLst/>
                  <a:gdLst>
                    <a:gd name="T0" fmla="*/ 0 w 187"/>
                    <a:gd name="T1" fmla="*/ 0 h 97"/>
                    <a:gd name="T2" fmla="*/ 0 w 187"/>
                    <a:gd name="T3" fmla="*/ 2 h 97"/>
                    <a:gd name="T4" fmla="*/ 1 w 187"/>
                    <a:gd name="T5" fmla="*/ 2 h 97"/>
                    <a:gd name="T6" fmla="*/ 3 w 187"/>
                    <a:gd name="T7" fmla="*/ 2 h 97"/>
                    <a:gd name="T8" fmla="*/ 4 w 187"/>
                    <a:gd name="T9" fmla="*/ 2 h 97"/>
                    <a:gd name="T10" fmla="*/ 3 w 187"/>
                    <a:gd name="T11" fmla="*/ 0 h 97"/>
                    <a:gd name="T12" fmla="*/ 0 w 187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7"/>
                    <a:gd name="T22" fmla="*/ 0 h 97"/>
                    <a:gd name="T23" fmla="*/ 187 w 187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7" h="97">
                      <a:moveTo>
                        <a:pt x="19" y="0"/>
                      </a:moveTo>
                      <a:lnTo>
                        <a:pt x="0" y="79"/>
                      </a:lnTo>
                      <a:lnTo>
                        <a:pt x="53" y="97"/>
                      </a:lnTo>
                      <a:lnTo>
                        <a:pt x="141" y="97"/>
                      </a:lnTo>
                      <a:lnTo>
                        <a:pt x="187" y="78"/>
                      </a:lnTo>
                      <a:lnTo>
                        <a:pt x="159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267" name="Group 1243"/>
                <p:cNvGrpSpPr>
                  <a:grpSpLocks/>
                </p:cNvGrpSpPr>
                <p:nvPr/>
              </p:nvGrpSpPr>
              <p:grpSpPr bwMode="auto">
                <a:xfrm>
                  <a:off x="3045" y="3229"/>
                  <a:ext cx="21" cy="8"/>
                  <a:chOff x="3045" y="3229"/>
                  <a:chExt cx="21" cy="8"/>
                </a:xfrm>
              </p:grpSpPr>
              <p:sp>
                <p:nvSpPr>
                  <p:cNvPr id="272" name="Oval 1244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0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3" name="Oval 1245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4" name="Oval 1246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7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268" name="Group 1247"/>
                <p:cNvGrpSpPr>
                  <a:grpSpLocks/>
                </p:cNvGrpSpPr>
                <p:nvPr/>
              </p:nvGrpSpPr>
              <p:grpSpPr bwMode="auto">
                <a:xfrm>
                  <a:off x="3042" y="3235"/>
                  <a:ext cx="27" cy="10"/>
                  <a:chOff x="3042" y="3235"/>
                  <a:chExt cx="27" cy="10"/>
                </a:xfrm>
              </p:grpSpPr>
              <p:sp>
                <p:nvSpPr>
                  <p:cNvPr id="269" name="Oval 1248"/>
                  <p:cNvSpPr>
                    <a:spLocks noChangeArrowheads="1"/>
                  </p:cNvSpPr>
                  <p:nvPr/>
                </p:nvSpPr>
                <p:spPr bwMode="gray">
                  <a:xfrm>
                    <a:off x="3042" y="3236"/>
                    <a:ext cx="27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0" name="Oval 1249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6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71" name="Oval 1250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5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263" name="Oval 1251"/>
              <p:cNvSpPr>
                <a:spLocks noChangeArrowheads="1"/>
              </p:cNvSpPr>
              <p:nvPr/>
            </p:nvSpPr>
            <p:spPr bwMode="gray">
              <a:xfrm>
                <a:off x="3051" y="3231"/>
                <a:ext cx="9" cy="4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84" name="Rectangle 1252"/>
            <p:cNvSpPr>
              <a:spLocks noChangeArrowheads="1"/>
            </p:cNvSpPr>
            <p:nvPr/>
          </p:nvSpPr>
          <p:spPr bwMode="gray">
            <a:xfrm>
              <a:off x="3856" y="1579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aphicFrame>
          <p:nvGraphicFramePr>
            <p:cNvPr id="185" name="Object 1253"/>
            <p:cNvGraphicFramePr>
              <a:graphicFrameLocks/>
            </p:cNvGraphicFramePr>
            <p:nvPr/>
          </p:nvGraphicFramePr>
          <p:xfrm>
            <a:off x="2078" y="1543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4" name="Clip" r:id="rId19" imgW="1898640" imgH="3657600" progId="MS_ClipArt_Gallery.2">
                    <p:embed/>
                  </p:oleObj>
                </mc:Choice>
                <mc:Fallback>
                  <p:oleObj name="Clip" r:id="rId19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2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078" y="1543"/>
                          <a:ext cx="201" cy="340"/>
                        </a:xfrm>
                        <a:prstGeom prst="rect">
                          <a:avLst/>
                        </a:prstGeom>
                        <a:solidFill>
                          <a:schemeClr val="accent2"/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86" name="Rectangle 1254"/>
            <p:cNvSpPr>
              <a:spLocks noChangeArrowheads="1"/>
            </p:cNvSpPr>
            <p:nvPr/>
          </p:nvSpPr>
          <p:spPr bwMode="gray">
            <a:xfrm>
              <a:off x="2064" y="1570"/>
              <a:ext cx="2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 dirty="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187" name="Object 1255"/>
            <p:cNvGraphicFramePr>
              <a:graphicFrameLocks/>
            </p:cNvGraphicFramePr>
            <p:nvPr/>
          </p:nvGraphicFramePr>
          <p:xfrm>
            <a:off x="2598" y="1543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5" name="Clip" r:id="rId21" imgW="1898640" imgH="3657600" progId="MS_ClipArt_Gallery.2">
                    <p:embed/>
                  </p:oleObj>
                </mc:Choice>
                <mc:Fallback>
                  <p:oleObj name="Clip" r:id="rId21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598" y="1543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88" name="Rectangle 1256"/>
            <p:cNvSpPr>
              <a:spLocks noChangeArrowheads="1"/>
            </p:cNvSpPr>
            <p:nvPr/>
          </p:nvSpPr>
          <p:spPr bwMode="gray">
            <a:xfrm>
              <a:off x="2584" y="1570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 dirty="0">
                  <a:latin typeface="Times New Roman" pitchFamily="18" charset="0"/>
                </a:rPr>
                <a:t>P</a:t>
              </a:r>
            </a:p>
          </p:txBody>
        </p:sp>
        <p:grpSp>
          <p:nvGrpSpPr>
            <p:cNvPr id="189" name="Group 1257"/>
            <p:cNvGrpSpPr>
              <a:grpSpLocks/>
            </p:cNvGrpSpPr>
            <p:nvPr/>
          </p:nvGrpSpPr>
          <p:grpSpPr bwMode="auto">
            <a:xfrm>
              <a:off x="3127" y="1836"/>
              <a:ext cx="199" cy="43"/>
              <a:chOff x="2975" y="3471"/>
              <a:chExt cx="161" cy="37"/>
            </a:xfrm>
          </p:grpSpPr>
          <p:grpSp>
            <p:nvGrpSpPr>
              <p:cNvPr id="258" name="Group 1258"/>
              <p:cNvGrpSpPr>
                <a:grpSpLocks/>
              </p:cNvGrpSpPr>
              <p:nvPr/>
            </p:nvGrpSpPr>
            <p:grpSpPr bwMode="auto">
              <a:xfrm>
                <a:off x="2975" y="3471"/>
                <a:ext cx="161" cy="37"/>
                <a:chOff x="2975" y="3471"/>
                <a:chExt cx="161" cy="37"/>
              </a:xfrm>
            </p:grpSpPr>
            <p:sp>
              <p:nvSpPr>
                <p:cNvPr id="260" name="Oval 1259"/>
                <p:cNvSpPr>
                  <a:spLocks noChangeArrowheads="1"/>
                </p:cNvSpPr>
                <p:nvPr/>
              </p:nvSpPr>
              <p:spPr bwMode="gray">
                <a:xfrm>
                  <a:off x="2975" y="3471"/>
                  <a:ext cx="161" cy="3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61" name="Oval 1260"/>
                <p:cNvSpPr>
                  <a:spLocks noChangeArrowheads="1"/>
                </p:cNvSpPr>
                <p:nvPr/>
              </p:nvSpPr>
              <p:spPr bwMode="gray">
                <a:xfrm>
                  <a:off x="2975" y="3472"/>
                  <a:ext cx="161" cy="31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59" name="Freeform 1261"/>
              <p:cNvSpPr>
                <a:spLocks/>
              </p:cNvSpPr>
              <p:nvPr/>
            </p:nvSpPr>
            <p:spPr bwMode="gray">
              <a:xfrm>
                <a:off x="2991" y="3496"/>
                <a:ext cx="18" cy="5"/>
              </a:xfrm>
              <a:custGeom>
                <a:avLst/>
                <a:gdLst>
                  <a:gd name="T0" fmla="*/ 0 w 124"/>
                  <a:gd name="T1" fmla="*/ 0 h 41"/>
                  <a:gd name="T2" fmla="*/ 1 w 124"/>
                  <a:gd name="T3" fmla="*/ 0 h 41"/>
                  <a:gd name="T4" fmla="*/ 2 w 124"/>
                  <a:gd name="T5" fmla="*/ 0 h 41"/>
                  <a:gd name="T6" fmla="*/ 3 w 124"/>
                  <a:gd name="T7" fmla="*/ 0 h 41"/>
                  <a:gd name="T8" fmla="*/ 3 w 124"/>
                  <a:gd name="T9" fmla="*/ 1 h 41"/>
                  <a:gd name="T10" fmla="*/ 2 w 124"/>
                  <a:gd name="T11" fmla="*/ 0 h 41"/>
                  <a:gd name="T12" fmla="*/ 1 w 124"/>
                  <a:gd name="T13" fmla="*/ 0 h 41"/>
                  <a:gd name="T14" fmla="*/ 0 w 124"/>
                  <a:gd name="T15" fmla="*/ 0 h 41"/>
                  <a:gd name="T16" fmla="*/ 0 w 124"/>
                  <a:gd name="T17" fmla="*/ 0 h 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4"/>
                  <a:gd name="T28" fmla="*/ 0 h 41"/>
                  <a:gd name="T29" fmla="*/ 124 w 124"/>
                  <a:gd name="T30" fmla="*/ 41 h 4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4" h="41">
                    <a:moveTo>
                      <a:pt x="0" y="0"/>
                    </a:moveTo>
                    <a:lnTo>
                      <a:pt x="35" y="8"/>
                    </a:lnTo>
                    <a:lnTo>
                      <a:pt x="77" y="15"/>
                    </a:lnTo>
                    <a:lnTo>
                      <a:pt x="122" y="24"/>
                    </a:lnTo>
                    <a:lnTo>
                      <a:pt x="124" y="41"/>
                    </a:lnTo>
                    <a:lnTo>
                      <a:pt x="92" y="36"/>
                    </a:lnTo>
                    <a:lnTo>
                      <a:pt x="50" y="27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90" name="Oval 1262"/>
            <p:cNvSpPr>
              <a:spLocks noChangeArrowheads="1"/>
            </p:cNvSpPr>
            <p:nvPr/>
          </p:nvSpPr>
          <p:spPr bwMode="gray">
            <a:xfrm>
              <a:off x="3127" y="1834"/>
              <a:ext cx="199" cy="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91" name="Rectangle 1263"/>
            <p:cNvSpPr>
              <a:spLocks noChangeArrowheads="1"/>
            </p:cNvSpPr>
            <p:nvPr/>
          </p:nvSpPr>
          <p:spPr bwMode="gray">
            <a:xfrm>
              <a:off x="3128" y="1578"/>
              <a:ext cx="198" cy="2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92" name="Group 1264"/>
            <p:cNvGrpSpPr>
              <a:grpSpLocks/>
            </p:cNvGrpSpPr>
            <p:nvPr/>
          </p:nvGrpSpPr>
          <p:grpSpPr bwMode="auto">
            <a:xfrm>
              <a:off x="3128" y="1560"/>
              <a:ext cx="198" cy="38"/>
              <a:chOff x="2976" y="3234"/>
              <a:chExt cx="160" cy="33"/>
            </a:xfrm>
          </p:grpSpPr>
          <p:sp>
            <p:nvSpPr>
              <p:cNvPr id="256" name="Oval 1265"/>
              <p:cNvSpPr>
                <a:spLocks noChangeArrowheads="1"/>
              </p:cNvSpPr>
              <p:nvPr/>
            </p:nvSpPr>
            <p:spPr bwMode="gray">
              <a:xfrm>
                <a:off x="2976" y="3237"/>
                <a:ext cx="160" cy="3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57" name="Oval 1266"/>
              <p:cNvSpPr>
                <a:spLocks noChangeArrowheads="1"/>
              </p:cNvSpPr>
              <p:nvPr/>
            </p:nvSpPr>
            <p:spPr bwMode="gray">
              <a:xfrm>
                <a:off x="2976" y="3234"/>
                <a:ext cx="160" cy="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93" name="Oval 1267"/>
            <p:cNvSpPr>
              <a:spLocks noChangeArrowheads="1"/>
            </p:cNvSpPr>
            <p:nvPr/>
          </p:nvSpPr>
          <p:spPr bwMode="gray">
            <a:xfrm>
              <a:off x="3128" y="1556"/>
              <a:ext cx="198" cy="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194" name="Group 1268"/>
            <p:cNvGrpSpPr>
              <a:grpSpLocks/>
            </p:cNvGrpSpPr>
            <p:nvPr/>
          </p:nvGrpSpPr>
          <p:grpSpPr bwMode="auto">
            <a:xfrm>
              <a:off x="3127" y="1547"/>
              <a:ext cx="199" cy="33"/>
              <a:chOff x="2975" y="3223"/>
              <a:chExt cx="161" cy="28"/>
            </a:xfrm>
          </p:grpSpPr>
          <p:sp>
            <p:nvSpPr>
              <p:cNvPr id="254" name="Oval 1269"/>
              <p:cNvSpPr>
                <a:spLocks noChangeArrowheads="1"/>
              </p:cNvSpPr>
              <p:nvPr/>
            </p:nvSpPr>
            <p:spPr bwMode="gray">
              <a:xfrm>
                <a:off x="2975" y="3223"/>
                <a:ext cx="161" cy="2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55" name="Rectangle 1270"/>
              <p:cNvSpPr>
                <a:spLocks noChangeArrowheads="1"/>
              </p:cNvSpPr>
              <p:nvPr/>
            </p:nvSpPr>
            <p:spPr bwMode="gray">
              <a:xfrm>
                <a:off x="2975" y="3230"/>
                <a:ext cx="161" cy="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grpSp>
          <p:nvGrpSpPr>
            <p:cNvPr id="195" name="Group 1271"/>
            <p:cNvGrpSpPr>
              <a:grpSpLocks/>
            </p:cNvGrpSpPr>
            <p:nvPr/>
          </p:nvGrpSpPr>
          <p:grpSpPr bwMode="auto">
            <a:xfrm>
              <a:off x="3126" y="1540"/>
              <a:ext cx="200" cy="34"/>
              <a:chOff x="2974" y="3217"/>
              <a:chExt cx="162" cy="29"/>
            </a:xfrm>
          </p:grpSpPr>
          <p:grpSp>
            <p:nvGrpSpPr>
              <p:cNvPr id="250" name="Group 1272"/>
              <p:cNvGrpSpPr>
                <a:grpSpLocks/>
              </p:cNvGrpSpPr>
              <p:nvPr/>
            </p:nvGrpSpPr>
            <p:grpSpPr bwMode="auto">
              <a:xfrm>
                <a:off x="2974" y="3217"/>
                <a:ext cx="162" cy="29"/>
                <a:chOff x="2974" y="3217"/>
                <a:chExt cx="162" cy="29"/>
              </a:xfrm>
            </p:grpSpPr>
            <p:sp>
              <p:nvSpPr>
                <p:cNvPr id="252" name="Oval 1273"/>
                <p:cNvSpPr>
                  <a:spLocks noChangeArrowheads="1"/>
                </p:cNvSpPr>
                <p:nvPr/>
              </p:nvSpPr>
              <p:spPr bwMode="gray">
                <a:xfrm>
                  <a:off x="2974" y="3217"/>
                  <a:ext cx="162" cy="29"/>
                </a:xfrm>
                <a:prstGeom prst="ellipse">
                  <a:avLst/>
                </a:prstGeom>
                <a:solidFill>
                  <a:schemeClr val="accent1"/>
                </a:solidFill>
                <a:ln w="1588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53" name="Oval 1274"/>
                <p:cNvSpPr>
                  <a:spLocks noChangeArrowheads="1"/>
                </p:cNvSpPr>
                <p:nvPr/>
              </p:nvSpPr>
              <p:spPr bwMode="gray">
                <a:xfrm>
                  <a:off x="2975" y="3220"/>
                  <a:ext cx="161" cy="2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51" name="Oval 1275"/>
              <p:cNvSpPr>
                <a:spLocks noChangeArrowheads="1"/>
              </p:cNvSpPr>
              <p:nvPr/>
            </p:nvSpPr>
            <p:spPr bwMode="gray">
              <a:xfrm>
                <a:off x="2974" y="3217"/>
                <a:ext cx="162" cy="29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96" name="Freeform 1276"/>
            <p:cNvSpPr>
              <a:spLocks/>
            </p:cNvSpPr>
            <p:nvPr/>
          </p:nvSpPr>
          <p:spPr bwMode="gray">
            <a:xfrm>
              <a:off x="3147" y="1568"/>
              <a:ext cx="22" cy="6"/>
            </a:xfrm>
            <a:custGeom>
              <a:avLst/>
              <a:gdLst>
                <a:gd name="T0" fmla="*/ 0 w 123"/>
                <a:gd name="T1" fmla="*/ 0 h 36"/>
                <a:gd name="T2" fmla="*/ 1 w 123"/>
                <a:gd name="T3" fmla="*/ 0 h 36"/>
                <a:gd name="T4" fmla="*/ 3 w 123"/>
                <a:gd name="T5" fmla="*/ 0 h 36"/>
                <a:gd name="T6" fmla="*/ 4 w 123"/>
                <a:gd name="T7" fmla="*/ 0 h 36"/>
                <a:gd name="T8" fmla="*/ 4 w 123"/>
                <a:gd name="T9" fmla="*/ 1 h 36"/>
                <a:gd name="T10" fmla="*/ 3 w 123"/>
                <a:gd name="T11" fmla="*/ 1 h 36"/>
                <a:gd name="T12" fmla="*/ 2 w 123"/>
                <a:gd name="T13" fmla="*/ 1 h 36"/>
                <a:gd name="T14" fmla="*/ 0 w 123"/>
                <a:gd name="T15" fmla="*/ 0 h 36"/>
                <a:gd name="T16" fmla="*/ 0 w 123"/>
                <a:gd name="T17" fmla="*/ 0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3"/>
                <a:gd name="T28" fmla="*/ 0 h 36"/>
                <a:gd name="T29" fmla="*/ 123 w 123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3" h="36">
                  <a:moveTo>
                    <a:pt x="0" y="0"/>
                  </a:moveTo>
                  <a:lnTo>
                    <a:pt x="35" y="6"/>
                  </a:lnTo>
                  <a:lnTo>
                    <a:pt x="77" y="14"/>
                  </a:lnTo>
                  <a:lnTo>
                    <a:pt x="122" y="21"/>
                  </a:lnTo>
                  <a:lnTo>
                    <a:pt x="123" y="36"/>
                  </a:lnTo>
                  <a:lnTo>
                    <a:pt x="91" y="33"/>
                  </a:lnTo>
                  <a:lnTo>
                    <a:pt x="49" y="24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97" name="Group 1277"/>
            <p:cNvGrpSpPr>
              <a:grpSpLocks/>
            </p:cNvGrpSpPr>
            <p:nvPr/>
          </p:nvGrpSpPr>
          <p:grpSpPr bwMode="auto">
            <a:xfrm>
              <a:off x="3206" y="1543"/>
              <a:ext cx="41" cy="30"/>
              <a:chOff x="3039" y="3220"/>
              <a:chExt cx="33" cy="25"/>
            </a:xfrm>
          </p:grpSpPr>
          <p:grpSp>
            <p:nvGrpSpPr>
              <p:cNvPr id="235" name="Group 1278"/>
              <p:cNvGrpSpPr>
                <a:grpSpLocks/>
              </p:cNvGrpSpPr>
              <p:nvPr/>
            </p:nvGrpSpPr>
            <p:grpSpPr bwMode="auto">
              <a:xfrm>
                <a:off x="3039" y="3220"/>
                <a:ext cx="33" cy="25"/>
                <a:chOff x="3039" y="3220"/>
                <a:chExt cx="33" cy="25"/>
              </a:xfrm>
            </p:grpSpPr>
            <p:grpSp>
              <p:nvGrpSpPr>
                <p:cNvPr id="237" name="Group 1279"/>
                <p:cNvGrpSpPr>
                  <a:grpSpLocks/>
                </p:cNvGrpSpPr>
                <p:nvPr/>
              </p:nvGrpSpPr>
              <p:grpSpPr bwMode="auto">
                <a:xfrm>
                  <a:off x="3039" y="3220"/>
                  <a:ext cx="33" cy="13"/>
                  <a:chOff x="3039" y="3220"/>
                  <a:chExt cx="33" cy="13"/>
                </a:xfrm>
              </p:grpSpPr>
              <p:sp>
                <p:nvSpPr>
                  <p:cNvPr id="248" name="Oval 1280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3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9" name="Oval 1281"/>
                  <p:cNvSpPr>
                    <a:spLocks noChangeArrowheads="1"/>
                  </p:cNvSpPr>
                  <p:nvPr/>
                </p:nvSpPr>
                <p:spPr bwMode="gray">
                  <a:xfrm>
                    <a:off x="3039" y="3220"/>
                    <a:ext cx="33" cy="12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sp>
              <p:nvSpPr>
                <p:cNvPr id="238" name="Freeform 1282"/>
                <p:cNvSpPr>
                  <a:spLocks/>
                </p:cNvSpPr>
                <p:nvPr/>
              </p:nvSpPr>
              <p:spPr bwMode="gray">
                <a:xfrm>
                  <a:off x="3042" y="3230"/>
                  <a:ext cx="27" cy="15"/>
                </a:xfrm>
                <a:custGeom>
                  <a:avLst/>
                  <a:gdLst>
                    <a:gd name="T0" fmla="*/ 0 w 189"/>
                    <a:gd name="T1" fmla="*/ 0 h 102"/>
                    <a:gd name="T2" fmla="*/ 0 w 189"/>
                    <a:gd name="T3" fmla="*/ 2 h 102"/>
                    <a:gd name="T4" fmla="*/ 1 w 189"/>
                    <a:gd name="T5" fmla="*/ 2 h 102"/>
                    <a:gd name="T6" fmla="*/ 3 w 189"/>
                    <a:gd name="T7" fmla="*/ 2 h 102"/>
                    <a:gd name="T8" fmla="*/ 4 w 189"/>
                    <a:gd name="T9" fmla="*/ 2 h 102"/>
                    <a:gd name="T10" fmla="*/ 3 w 189"/>
                    <a:gd name="T11" fmla="*/ 0 h 102"/>
                    <a:gd name="T12" fmla="*/ 0 w 189"/>
                    <a:gd name="T13" fmla="*/ 0 h 10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9"/>
                    <a:gd name="T22" fmla="*/ 0 h 102"/>
                    <a:gd name="T23" fmla="*/ 189 w 189"/>
                    <a:gd name="T24" fmla="*/ 102 h 10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9" h="102">
                      <a:moveTo>
                        <a:pt x="22" y="1"/>
                      </a:moveTo>
                      <a:lnTo>
                        <a:pt x="0" y="84"/>
                      </a:lnTo>
                      <a:lnTo>
                        <a:pt x="50" y="102"/>
                      </a:lnTo>
                      <a:lnTo>
                        <a:pt x="144" y="102"/>
                      </a:lnTo>
                      <a:lnTo>
                        <a:pt x="189" y="81"/>
                      </a:lnTo>
                      <a:lnTo>
                        <a:pt x="164" y="0"/>
                      </a:lnTo>
                      <a:lnTo>
                        <a:pt x="22" y="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9" name="Freeform 1283"/>
                <p:cNvSpPr>
                  <a:spLocks/>
                </p:cNvSpPr>
                <p:nvPr/>
              </p:nvSpPr>
              <p:spPr bwMode="gray">
                <a:xfrm>
                  <a:off x="3043" y="3230"/>
                  <a:ext cx="26" cy="14"/>
                </a:xfrm>
                <a:custGeom>
                  <a:avLst/>
                  <a:gdLst>
                    <a:gd name="T0" fmla="*/ 0 w 187"/>
                    <a:gd name="T1" fmla="*/ 0 h 97"/>
                    <a:gd name="T2" fmla="*/ 0 w 187"/>
                    <a:gd name="T3" fmla="*/ 2 h 97"/>
                    <a:gd name="T4" fmla="*/ 1 w 187"/>
                    <a:gd name="T5" fmla="*/ 2 h 97"/>
                    <a:gd name="T6" fmla="*/ 3 w 187"/>
                    <a:gd name="T7" fmla="*/ 2 h 97"/>
                    <a:gd name="T8" fmla="*/ 4 w 187"/>
                    <a:gd name="T9" fmla="*/ 2 h 97"/>
                    <a:gd name="T10" fmla="*/ 3 w 187"/>
                    <a:gd name="T11" fmla="*/ 0 h 97"/>
                    <a:gd name="T12" fmla="*/ 0 w 187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7"/>
                    <a:gd name="T22" fmla="*/ 0 h 97"/>
                    <a:gd name="T23" fmla="*/ 187 w 187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7" h="97">
                      <a:moveTo>
                        <a:pt x="19" y="0"/>
                      </a:moveTo>
                      <a:lnTo>
                        <a:pt x="0" y="79"/>
                      </a:lnTo>
                      <a:lnTo>
                        <a:pt x="53" y="97"/>
                      </a:lnTo>
                      <a:lnTo>
                        <a:pt x="141" y="97"/>
                      </a:lnTo>
                      <a:lnTo>
                        <a:pt x="187" y="78"/>
                      </a:lnTo>
                      <a:lnTo>
                        <a:pt x="159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240" name="Group 1284"/>
                <p:cNvGrpSpPr>
                  <a:grpSpLocks/>
                </p:cNvGrpSpPr>
                <p:nvPr/>
              </p:nvGrpSpPr>
              <p:grpSpPr bwMode="auto">
                <a:xfrm>
                  <a:off x="3045" y="3229"/>
                  <a:ext cx="21" cy="8"/>
                  <a:chOff x="3045" y="3229"/>
                  <a:chExt cx="21" cy="8"/>
                </a:xfrm>
              </p:grpSpPr>
              <p:sp>
                <p:nvSpPr>
                  <p:cNvPr id="245" name="Oval 1285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0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6" name="Oval 1286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8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7" name="Oval 1287"/>
                  <p:cNvSpPr>
                    <a:spLocks noChangeArrowheads="1"/>
                  </p:cNvSpPr>
                  <p:nvPr/>
                </p:nvSpPr>
                <p:spPr bwMode="gray">
                  <a:xfrm>
                    <a:off x="3045" y="3229"/>
                    <a:ext cx="21" cy="7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  <p:grpSp>
              <p:nvGrpSpPr>
                <p:cNvPr id="241" name="Group 1288"/>
                <p:cNvGrpSpPr>
                  <a:grpSpLocks/>
                </p:cNvGrpSpPr>
                <p:nvPr/>
              </p:nvGrpSpPr>
              <p:grpSpPr bwMode="auto">
                <a:xfrm>
                  <a:off x="3042" y="3235"/>
                  <a:ext cx="27" cy="10"/>
                  <a:chOff x="3042" y="3235"/>
                  <a:chExt cx="27" cy="10"/>
                </a:xfrm>
              </p:grpSpPr>
              <p:sp>
                <p:nvSpPr>
                  <p:cNvPr id="242" name="Oval 1289"/>
                  <p:cNvSpPr>
                    <a:spLocks noChangeArrowheads="1"/>
                  </p:cNvSpPr>
                  <p:nvPr/>
                </p:nvSpPr>
                <p:spPr bwMode="gray">
                  <a:xfrm>
                    <a:off x="3042" y="3236"/>
                    <a:ext cx="27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3" name="Oval 1290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6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7F7F9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  <p:sp>
                <p:nvSpPr>
                  <p:cNvPr id="244" name="Oval 1291"/>
                  <p:cNvSpPr>
                    <a:spLocks noChangeArrowheads="1"/>
                  </p:cNvSpPr>
                  <p:nvPr/>
                </p:nvSpPr>
                <p:spPr bwMode="gray">
                  <a:xfrm>
                    <a:off x="3043" y="3235"/>
                    <a:ext cx="26" cy="9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588">
                    <a:solidFill>
                      <a:srgbClr val="DFDFFF"/>
                    </a:solidFill>
                    <a:round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5pPr>
                    <a:lvl6pPr marL="25146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6pPr>
                    <a:lvl7pPr marL="29718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7pPr>
                    <a:lvl8pPr marL="34290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8pPr>
                    <a:lvl9pPr marL="3886200" indent="-228600" algn="ctr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buSzPct val="75000"/>
                      <a:buFont typeface="Wingdings 3" pitchFamily="18" charset="2"/>
                      <a:defRPr sz="2200">
                        <a:solidFill>
                          <a:schemeClr val="bg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/>
                    <a:endParaRPr lang="en-US" altLang="en-US"/>
                  </a:p>
                </p:txBody>
              </p:sp>
            </p:grpSp>
          </p:grpSp>
          <p:sp>
            <p:nvSpPr>
              <p:cNvPr id="236" name="Oval 1292"/>
              <p:cNvSpPr>
                <a:spLocks noChangeArrowheads="1"/>
              </p:cNvSpPr>
              <p:nvPr/>
            </p:nvSpPr>
            <p:spPr bwMode="gray">
              <a:xfrm>
                <a:off x="3051" y="3231"/>
                <a:ext cx="9" cy="4"/>
              </a:xfrm>
              <a:prstGeom prst="ellipse">
                <a:avLst/>
              </a:prstGeom>
              <a:solidFill>
                <a:schemeClr val="accent1"/>
              </a:solidFill>
              <a:ln w="1588">
                <a:solidFill>
                  <a:srgbClr val="BFBFD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98" name="Rectangle 1293"/>
            <p:cNvSpPr>
              <a:spLocks noChangeArrowheads="1"/>
            </p:cNvSpPr>
            <p:nvPr/>
          </p:nvSpPr>
          <p:spPr bwMode="gray">
            <a:xfrm>
              <a:off x="3120" y="1576"/>
              <a:ext cx="22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C</a:t>
              </a:r>
            </a:p>
          </p:txBody>
        </p:sp>
        <p:grpSp>
          <p:nvGrpSpPr>
            <p:cNvPr id="199" name="Group 1294"/>
            <p:cNvGrpSpPr>
              <a:grpSpLocks/>
            </p:cNvGrpSpPr>
            <p:nvPr/>
          </p:nvGrpSpPr>
          <p:grpSpPr bwMode="auto">
            <a:xfrm>
              <a:off x="4382" y="1829"/>
              <a:ext cx="192" cy="42"/>
              <a:chOff x="4956" y="1960"/>
              <a:chExt cx="257" cy="48"/>
            </a:xfrm>
          </p:grpSpPr>
          <p:sp>
            <p:nvSpPr>
              <p:cNvPr id="233" name="Oval 1295"/>
              <p:cNvSpPr>
                <a:spLocks noChangeArrowheads="1"/>
              </p:cNvSpPr>
              <p:nvPr/>
            </p:nvSpPr>
            <p:spPr bwMode="gray">
              <a:xfrm>
                <a:off x="4956" y="1960"/>
                <a:ext cx="257" cy="48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34" name="Oval 1296"/>
              <p:cNvSpPr>
                <a:spLocks noChangeArrowheads="1"/>
              </p:cNvSpPr>
              <p:nvPr/>
            </p:nvSpPr>
            <p:spPr bwMode="gray">
              <a:xfrm>
                <a:off x="4957" y="1961"/>
                <a:ext cx="256" cy="40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200" name="Freeform 1297"/>
            <p:cNvSpPr>
              <a:spLocks/>
            </p:cNvSpPr>
            <p:nvPr/>
          </p:nvSpPr>
          <p:spPr bwMode="gray">
            <a:xfrm>
              <a:off x="4401" y="1857"/>
              <a:ext cx="21" cy="7"/>
            </a:xfrm>
            <a:custGeom>
              <a:avLst/>
              <a:gdLst>
                <a:gd name="T0" fmla="*/ 0 w 114"/>
                <a:gd name="T1" fmla="*/ 0 h 45"/>
                <a:gd name="T2" fmla="*/ 1 w 114"/>
                <a:gd name="T3" fmla="*/ 0 h 45"/>
                <a:gd name="T4" fmla="*/ 2 w 114"/>
                <a:gd name="T5" fmla="*/ 0 h 45"/>
                <a:gd name="T6" fmla="*/ 4 w 114"/>
                <a:gd name="T7" fmla="*/ 1 h 45"/>
                <a:gd name="T8" fmla="*/ 4 w 114"/>
                <a:gd name="T9" fmla="*/ 1 h 45"/>
                <a:gd name="T10" fmla="*/ 3 w 114"/>
                <a:gd name="T11" fmla="*/ 1 h 45"/>
                <a:gd name="T12" fmla="*/ 2 w 114"/>
                <a:gd name="T13" fmla="*/ 1 h 45"/>
                <a:gd name="T14" fmla="*/ 0 w 114"/>
                <a:gd name="T15" fmla="*/ 0 h 45"/>
                <a:gd name="T16" fmla="*/ 0 w 114"/>
                <a:gd name="T17" fmla="*/ 0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"/>
                <a:gd name="T28" fmla="*/ 0 h 45"/>
                <a:gd name="T29" fmla="*/ 114 w 114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" h="45">
                  <a:moveTo>
                    <a:pt x="0" y="0"/>
                  </a:moveTo>
                  <a:lnTo>
                    <a:pt x="33" y="9"/>
                  </a:lnTo>
                  <a:lnTo>
                    <a:pt x="71" y="17"/>
                  </a:lnTo>
                  <a:lnTo>
                    <a:pt x="112" y="26"/>
                  </a:lnTo>
                  <a:lnTo>
                    <a:pt x="114" y="45"/>
                  </a:lnTo>
                  <a:lnTo>
                    <a:pt x="85" y="39"/>
                  </a:lnTo>
                  <a:lnTo>
                    <a:pt x="47" y="29"/>
                  </a:lnTo>
                  <a:lnTo>
                    <a:pt x="3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Oval 1298"/>
            <p:cNvSpPr>
              <a:spLocks noChangeArrowheads="1"/>
            </p:cNvSpPr>
            <p:nvPr/>
          </p:nvSpPr>
          <p:spPr bwMode="gray">
            <a:xfrm>
              <a:off x="4383" y="1827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2" name="Rectangle 1299"/>
            <p:cNvSpPr>
              <a:spLocks noChangeArrowheads="1"/>
            </p:cNvSpPr>
            <p:nvPr/>
          </p:nvSpPr>
          <p:spPr bwMode="gray">
            <a:xfrm>
              <a:off x="4383" y="1580"/>
              <a:ext cx="191" cy="264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3" name="Oval 1300"/>
            <p:cNvSpPr>
              <a:spLocks noChangeArrowheads="1"/>
            </p:cNvSpPr>
            <p:nvPr/>
          </p:nvSpPr>
          <p:spPr bwMode="gray">
            <a:xfrm>
              <a:off x="4383" y="1565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4" name="Oval 1301"/>
            <p:cNvSpPr>
              <a:spLocks noChangeArrowheads="1"/>
            </p:cNvSpPr>
            <p:nvPr/>
          </p:nvSpPr>
          <p:spPr bwMode="gray">
            <a:xfrm>
              <a:off x="4383" y="1562"/>
              <a:ext cx="191" cy="34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5" name="Oval 1302"/>
            <p:cNvSpPr>
              <a:spLocks noChangeArrowheads="1"/>
            </p:cNvSpPr>
            <p:nvPr/>
          </p:nvSpPr>
          <p:spPr bwMode="gray">
            <a:xfrm>
              <a:off x="4383" y="1559"/>
              <a:ext cx="190" cy="38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6" name="Oval 1303"/>
            <p:cNvSpPr>
              <a:spLocks noChangeArrowheads="1"/>
            </p:cNvSpPr>
            <p:nvPr/>
          </p:nvSpPr>
          <p:spPr bwMode="gray">
            <a:xfrm>
              <a:off x="4382" y="1549"/>
              <a:ext cx="191" cy="32"/>
            </a:xfrm>
            <a:prstGeom prst="ellipse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07" name="Rectangle 1304"/>
            <p:cNvSpPr>
              <a:spLocks noChangeArrowheads="1"/>
            </p:cNvSpPr>
            <p:nvPr/>
          </p:nvSpPr>
          <p:spPr bwMode="gray">
            <a:xfrm>
              <a:off x="4382" y="1557"/>
              <a:ext cx="191" cy="8"/>
            </a:xfrm>
            <a:prstGeom prst="rect">
              <a:avLst/>
            </a:pr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208" name="Group 1305"/>
            <p:cNvGrpSpPr>
              <a:grpSpLocks/>
            </p:cNvGrpSpPr>
            <p:nvPr/>
          </p:nvGrpSpPr>
          <p:grpSpPr bwMode="auto">
            <a:xfrm>
              <a:off x="4382" y="1543"/>
              <a:ext cx="191" cy="31"/>
              <a:chOff x="4956" y="1634"/>
              <a:chExt cx="256" cy="35"/>
            </a:xfrm>
          </p:grpSpPr>
          <p:sp>
            <p:nvSpPr>
              <p:cNvPr id="231" name="Oval 1306"/>
              <p:cNvSpPr>
                <a:spLocks noChangeArrowheads="1"/>
              </p:cNvSpPr>
              <p:nvPr/>
            </p:nvSpPr>
            <p:spPr bwMode="gray">
              <a:xfrm>
                <a:off x="4956" y="1634"/>
                <a:ext cx="255" cy="35"/>
              </a:xfrm>
              <a:prstGeom prst="ellipse">
                <a:avLst/>
              </a:prstGeom>
              <a:solidFill>
                <a:srgbClr val="F9AE00"/>
              </a:solidFill>
              <a:ln w="3175">
                <a:solidFill>
                  <a:srgbClr val="DFDFFF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32" name="Oval 1307"/>
              <p:cNvSpPr>
                <a:spLocks noChangeArrowheads="1"/>
              </p:cNvSpPr>
              <p:nvPr/>
            </p:nvSpPr>
            <p:spPr bwMode="gray">
              <a:xfrm>
                <a:off x="4956" y="1637"/>
                <a:ext cx="256" cy="32"/>
              </a:xfrm>
              <a:prstGeom prst="ellipse">
                <a:avLst/>
              </a:pr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>
                    <a:solidFill>
                      <a:schemeClr val="bg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buSzPct val="75000"/>
                  <a:buFont typeface="Wingdings 3" pitchFamily="18" charset="2"/>
                  <a:defRPr sz="2200">
                    <a:solidFill>
                      <a:schemeClr val="bg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209" name="Oval 1308"/>
            <p:cNvSpPr>
              <a:spLocks noChangeArrowheads="1"/>
            </p:cNvSpPr>
            <p:nvPr/>
          </p:nvSpPr>
          <p:spPr bwMode="gray">
            <a:xfrm>
              <a:off x="4382" y="1543"/>
              <a:ext cx="190" cy="31"/>
            </a:xfrm>
            <a:prstGeom prst="ellipse">
              <a:avLst/>
            </a:prstGeom>
            <a:solidFill>
              <a:srgbClr val="F9AE00"/>
            </a:solidFill>
            <a:ln w="3175">
              <a:solidFill>
                <a:srgbClr val="DFDFF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10" name="Freeform 1309"/>
            <p:cNvSpPr>
              <a:spLocks/>
            </p:cNvSpPr>
            <p:nvPr/>
          </p:nvSpPr>
          <p:spPr bwMode="gray">
            <a:xfrm>
              <a:off x="4401" y="1570"/>
              <a:ext cx="21" cy="5"/>
            </a:xfrm>
            <a:custGeom>
              <a:avLst/>
              <a:gdLst>
                <a:gd name="T0" fmla="*/ 0 w 113"/>
                <a:gd name="T1" fmla="*/ 0 h 39"/>
                <a:gd name="T2" fmla="*/ 1 w 113"/>
                <a:gd name="T3" fmla="*/ 0 h 39"/>
                <a:gd name="T4" fmla="*/ 2 w 113"/>
                <a:gd name="T5" fmla="*/ 0 h 39"/>
                <a:gd name="T6" fmla="*/ 4 w 113"/>
                <a:gd name="T7" fmla="*/ 0 h 39"/>
                <a:gd name="T8" fmla="*/ 4 w 113"/>
                <a:gd name="T9" fmla="*/ 1 h 39"/>
                <a:gd name="T10" fmla="*/ 3 w 113"/>
                <a:gd name="T11" fmla="*/ 1 h 39"/>
                <a:gd name="T12" fmla="*/ 2 w 113"/>
                <a:gd name="T13" fmla="*/ 0 h 39"/>
                <a:gd name="T14" fmla="*/ 0 w 113"/>
                <a:gd name="T15" fmla="*/ 0 h 39"/>
                <a:gd name="T16" fmla="*/ 0 w 113"/>
                <a:gd name="T17" fmla="*/ 0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"/>
                <a:gd name="T28" fmla="*/ 0 h 39"/>
                <a:gd name="T29" fmla="*/ 113 w 113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" h="39">
                  <a:moveTo>
                    <a:pt x="0" y="0"/>
                  </a:moveTo>
                  <a:lnTo>
                    <a:pt x="33" y="6"/>
                  </a:lnTo>
                  <a:lnTo>
                    <a:pt x="71" y="15"/>
                  </a:lnTo>
                  <a:lnTo>
                    <a:pt x="112" y="22"/>
                  </a:lnTo>
                  <a:lnTo>
                    <a:pt x="113" y="39"/>
                  </a:lnTo>
                  <a:lnTo>
                    <a:pt x="84" y="36"/>
                  </a:lnTo>
                  <a:lnTo>
                    <a:pt x="46" y="26"/>
                  </a:lnTo>
                  <a:lnTo>
                    <a:pt x="3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11" name="Group 1310"/>
            <p:cNvGrpSpPr>
              <a:grpSpLocks/>
            </p:cNvGrpSpPr>
            <p:nvPr/>
          </p:nvGrpSpPr>
          <p:grpSpPr bwMode="auto">
            <a:xfrm>
              <a:off x="4459" y="1547"/>
              <a:ext cx="38" cy="27"/>
              <a:chOff x="5059" y="1638"/>
              <a:chExt cx="51" cy="31"/>
            </a:xfrm>
          </p:grpSpPr>
          <p:grpSp>
            <p:nvGrpSpPr>
              <p:cNvPr id="218" name="Group 1311"/>
              <p:cNvGrpSpPr>
                <a:grpSpLocks/>
              </p:cNvGrpSpPr>
              <p:nvPr/>
            </p:nvGrpSpPr>
            <p:grpSpPr bwMode="auto">
              <a:xfrm>
                <a:off x="5059" y="1638"/>
                <a:ext cx="51" cy="15"/>
                <a:chOff x="5059" y="1638"/>
                <a:chExt cx="51" cy="15"/>
              </a:xfrm>
            </p:grpSpPr>
            <p:sp>
              <p:nvSpPr>
                <p:cNvPr id="229" name="Oval 1312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5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30" name="Oval 1313"/>
                <p:cNvSpPr>
                  <a:spLocks noChangeArrowheads="1"/>
                </p:cNvSpPr>
                <p:nvPr/>
              </p:nvSpPr>
              <p:spPr bwMode="gray">
                <a:xfrm>
                  <a:off x="5059" y="1638"/>
                  <a:ext cx="51" cy="14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sp>
            <p:nvSpPr>
              <p:cNvPr id="219" name="Freeform 1314"/>
              <p:cNvSpPr>
                <a:spLocks/>
              </p:cNvSpPr>
              <p:nvPr/>
            </p:nvSpPr>
            <p:spPr bwMode="gray">
              <a:xfrm>
                <a:off x="5064" y="1650"/>
                <a:ext cx="43" cy="19"/>
              </a:xfrm>
              <a:custGeom>
                <a:avLst/>
                <a:gdLst>
                  <a:gd name="T0" fmla="*/ 1 w 172"/>
                  <a:gd name="T1" fmla="*/ 0 h 111"/>
                  <a:gd name="T2" fmla="*/ 0 w 172"/>
                  <a:gd name="T3" fmla="*/ 3 h 111"/>
                  <a:gd name="T4" fmla="*/ 3 w 172"/>
                  <a:gd name="T5" fmla="*/ 3 h 111"/>
                  <a:gd name="T6" fmla="*/ 8 w 172"/>
                  <a:gd name="T7" fmla="*/ 3 h 111"/>
                  <a:gd name="T8" fmla="*/ 11 w 172"/>
                  <a:gd name="T9" fmla="*/ 3 h 111"/>
                  <a:gd name="T10" fmla="*/ 9 w 172"/>
                  <a:gd name="T11" fmla="*/ 0 h 111"/>
                  <a:gd name="T12" fmla="*/ 1 w 172"/>
                  <a:gd name="T13" fmla="*/ 0 h 1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2"/>
                  <a:gd name="T22" fmla="*/ 0 h 111"/>
                  <a:gd name="T23" fmla="*/ 172 w 172"/>
                  <a:gd name="T24" fmla="*/ 111 h 1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2" h="111">
                    <a:moveTo>
                      <a:pt x="20" y="1"/>
                    </a:moveTo>
                    <a:lnTo>
                      <a:pt x="0" y="92"/>
                    </a:lnTo>
                    <a:lnTo>
                      <a:pt x="46" y="111"/>
                    </a:lnTo>
                    <a:lnTo>
                      <a:pt x="131" y="111"/>
                    </a:lnTo>
                    <a:lnTo>
                      <a:pt x="172" y="89"/>
                    </a:lnTo>
                    <a:lnTo>
                      <a:pt x="149" y="0"/>
                    </a:lnTo>
                    <a:lnTo>
                      <a:pt x="20" y="1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0" name="Freeform 1315"/>
              <p:cNvSpPr>
                <a:spLocks/>
              </p:cNvSpPr>
              <p:nvPr/>
            </p:nvSpPr>
            <p:spPr bwMode="gray">
              <a:xfrm>
                <a:off x="5064" y="1650"/>
                <a:ext cx="43" cy="18"/>
              </a:xfrm>
              <a:custGeom>
                <a:avLst/>
                <a:gdLst>
                  <a:gd name="T0" fmla="*/ 1 w 170"/>
                  <a:gd name="T1" fmla="*/ 0 h 106"/>
                  <a:gd name="T2" fmla="*/ 0 w 170"/>
                  <a:gd name="T3" fmla="*/ 3 h 106"/>
                  <a:gd name="T4" fmla="*/ 3 w 170"/>
                  <a:gd name="T5" fmla="*/ 3 h 106"/>
                  <a:gd name="T6" fmla="*/ 8 w 170"/>
                  <a:gd name="T7" fmla="*/ 3 h 106"/>
                  <a:gd name="T8" fmla="*/ 11 w 170"/>
                  <a:gd name="T9" fmla="*/ 2 h 106"/>
                  <a:gd name="T10" fmla="*/ 9 w 170"/>
                  <a:gd name="T11" fmla="*/ 0 h 106"/>
                  <a:gd name="T12" fmla="*/ 1 w 170"/>
                  <a:gd name="T13" fmla="*/ 0 h 10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0"/>
                  <a:gd name="T22" fmla="*/ 0 h 106"/>
                  <a:gd name="T23" fmla="*/ 170 w 170"/>
                  <a:gd name="T24" fmla="*/ 106 h 10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0" h="106">
                    <a:moveTo>
                      <a:pt x="17" y="0"/>
                    </a:moveTo>
                    <a:lnTo>
                      <a:pt x="0" y="87"/>
                    </a:lnTo>
                    <a:lnTo>
                      <a:pt x="48" y="106"/>
                    </a:lnTo>
                    <a:lnTo>
                      <a:pt x="128" y="106"/>
                    </a:lnTo>
                    <a:lnTo>
                      <a:pt x="170" y="85"/>
                    </a:lnTo>
                    <a:lnTo>
                      <a:pt x="145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9A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21" name="Group 1316"/>
              <p:cNvGrpSpPr>
                <a:grpSpLocks/>
              </p:cNvGrpSpPr>
              <p:nvPr/>
            </p:nvGrpSpPr>
            <p:grpSpPr bwMode="auto">
              <a:xfrm>
                <a:off x="5069" y="1650"/>
                <a:ext cx="31" cy="8"/>
                <a:chOff x="5069" y="1650"/>
                <a:chExt cx="31" cy="8"/>
              </a:xfrm>
            </p:grpSpPr>
            <p:sp>
              <p:nvSpPr>
                <p:cNvPr id="226" name="Oval 1317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0" cy="8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27" name="Oval 1318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8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28" name="Oval 1319"/>
                <p:cNvSpPr>
                  <a:spLocks noChangeArrowheads="1"/>
                </p:cNvSpPr>
                <p:nvPr/>
              </p:nvSpPr>
              <p:spPr bwMode="gray">
                <a:xfrm>
                  <a:off x="5069" y="1650"/>
                  <a:ext cx="31" cy="7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  <p:grpSp>
            <p:nvGrpSpPr>
              <p:cNvPr id="222" name="Group 1320"/>
              <p:cNvGrpSpPr>
                <a:grpSpLocks/>
              </p:cNvGrpSpPr>
              <p:nvPr/>
            </p:nvGrpSpPr>
            <p:grpSpPr bwMode="auto">
              <a:xfrm>
                <a:off x="5064" y="1658"/>
                <a:ext cx="41" cy="10"/>
                <a:chOff x="5064" y="1658"/>
                <a:chExt cx="41" cy="10"/>
              </a:xfrm>
            </p:grpSpPr>
            <p:sp>
              <p:nvSpPr>
                <p:cNvPr id="223" name="Oval 1321"/>
                <p:cNvSpPr>
                  <a:spLocks noChangeArrowheads="1"/>
                </p:cNvSpPr>
                <p:nvPr/>
              </p:nvSpPr>
              <p:spPr bwMode="gray">
                <a:xfrm>
                  <a:off x="5064" y="1659"/>
                  <a:ext cx="40" cy="9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24" name="Oval 1322"/>
                <p:cNvSpPr>
                  <a:spLocks noChangeArrowheads="1"/>
                </p:cNvSpPr>
                <p:nvPr/>
              </p:nvSpPr>
              <p:spPr bwMode="gray">
                <a:xfrm>
                  <a:off x="5066" y="1659"/>
                  <a:ext cx="39" cy="9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7F7F9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225" name="Oval 1323"/>
                <p:cNvSpPr>
                  <a:spLocks noChangeArrowheads="1"/>
                </p:cNvSpPr>
                <p:nvPr/>
              </p:nvSpPr>
              <p:spPr bwMode="gray">
                <a:xfrm>
                  <a:off x="5066" y="1658"/>
                  <a:ext cx="39" cy="10"/>
                </a:xfrm>
                <a:prstGeom prst="ellipse">
                  <a:avLst/>
                </a:prstGeom>
                <a:solidFill>
                  <a:srgbClr val="F9AE00"/>
                </a:solidFill>
                <a:ln w="3175">
                  <a:solidFill>
                    <a:srgbClr val="DFD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SzPct val="75000"/>
                    <a:buFont typeface="Wingdings 3" pitchFamily="18" charset="2"/>
                    <a:defRPr sz="2200">
                      <a:solidFill>
                        <a:schemeClr val="bg1"/>
                      </a:solidFill>
                      <a:latin typeface="Arial" charset="0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</p:grpSp>
        </p:grpSp>
        <p:sp>
          <p:nvSpPr>
            <p:cNvPr id="212" name="Oval 1324"/>
            <p:cNvSpPr>
              <a:spLocks noChangeArrowheads="1"/>
            </p:cNvSpPr>
            <p:nvPr/>
          </p:nvSpPr>
          <p:spPr bwMode="gray">
            <a:xfrm>
              <a:off x="4473" y="1559"/>
              <a:ext cx="10" cy="3"/>
            </a:xfrm>
            <a:prstGeom prst="ellipse">
              <a:avLst/>
            </a:prstGeom>
            <a:solidFill>
              <a:srgbClr val="F9AE00"/>
            </a:solidFill>
            <a:ln w="3175">
              <a:solidFill>
                <a:srgbClr val="BFBFDF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13" name="Rectangle 1325"/>
            <p:cNvSpPr>
              <a:spLocks noChangeArrowheads="1"/>
            </p:cNvSpPr>
            <p:nvPr/>
          </p:nvSpPr>
          <p:spPr bwMode="gray">
            <a:xfrm>
              <a:off x="4350" y="1591"/>
              <a:ext cx="25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solidFill>
                    <a:schemeClr val="tx1"/>
                  </a:solidFill>
                  <a:latin typeface="Times New Roman" pitchFamily="18" charset="0"/>
                </a:rPr>
                <a:t>M</a:t>
              </a:r>
            </a:p>
          </p:txBody>
        </p:sp>
        <p:graphicFrame>
          <p:nvGraphicFramePr>
            <p:cNvPr id="214" name="Object 1326"/>
            <p:cNvGraphicFramePr>
              <a:graphicFrameLocks/>
            </p:cNvGraphicFramePr>
            <p:nvPr/>
          </p:nvGraphicFramePr>
          <p:xfrm>
            <a:off x="3639" y="1539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6" name="Clip" r:id="rId23" imgW="1898640" imgH="3657600" progId="MS_ClipArt_Gallery.2">
                    <p:embed/>
                  </p:oleObj>
                </mc:Choice>
                <mc:Fallback>
                  <p:oleObj name="Clip" r:id="rId23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2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639" y="1539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15" name="Rectangle 1327"/>
            <p:cNvSpPr>
              <a:spLocks noChangeArrowheads="1"/>
            </p:cNvSpPr>
            <p:nvPr/>
          </p:nvSpPr>
          <p:spPr bwMode="gray">
            <a:xfrm>
              <a:off x="3625" y="1566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  <p:graphicFrame>
          <p:nvGraphicFramePr>
            <p:cNvPr id="216" name="Object 1328"/>
            <p:cNvGraphicFramePr>
              <a:graphicFrameLocks/>
            </p:cNvGraphicFramePr>
            <p:nvPr/>
          </p:nvGraphicFramePr>
          <p:xfrm>
            <a:off x="4119" y="1543"/>
            <a:ext cx="201" cy="3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7" name="Clip" r:id="rId25" imgW="1898640" imgH="3657600" progId="MS_ClipArt_Gallery.2">
                    <p:embed/>
                  </p:oleObj>
                </mc:Choice>
                <mc:Fallback>
                  <p:oleObj name="Clip" r:id="rId25" imgW="1898640" imgH="3657600" progId="MS_ClipArt_Gallery.2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2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119" y="1543"/>
                          <a:ext cx="201" cy="3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17" name="Rectangle 1329"/>
            <p:cNvSpPr>
              <a:spLocks noChangeArrowheads="1"/>
            </p:cNvSpPr>
            <p:nvPr/>
          </p:nvSpPr>
          <p:spPr bwMode="gray">
            <a:xfrm>
              <a:off x="4105" y="1570"/>
              <a:ext cx="20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>
              <a:lvl1pPr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eaLnBrk="0" hangingPunct="0">
                <a:defRPr sz="22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Font typeface="Wingdings 3" pitchFamily="18" charset="2"/>
                <a:defRPr sz="22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algn="l" eaLnBrk="1" hangingPunct="1">
                <a:buSzTx/>
                <a:buFontTx/>
                <a:buNone/>
              </a:pPr>
              <a:r>
                <a:rPr lang="en-US" altLang="en-US" sz="2000">
                  <a:latin typeface="Times New Roman" pitchFamily="18" charset="0"/>
                </a:rPr>
                <a:t>P</a:t>
              </a:r>
            </a:p>
          </p:txBody>
        </p:sp>
      </p:grpSp>
      <p:sp>
        <p:nvSpPr>
          <p:cNvPr id="1331" name="Text Box 1330"/>
          <p:cNvSpPr txBox="1">
            <a:spLocks noChangeArrowheads="1"/>
          </p:cNvSpPr>
          <p:nvPr/>
        </p:nvSpPr>
        <p:spPr bwMode="gray">
          <a:xfrm>
            <a:off x="540666" y="5558974"/>
            <a:ext cx="1765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altLang="en-US" sz="2000">
                <a:solidFill>
                  <a:schemeClr val="tx1"/>
                </a:solidFill>
              </a:rPr>
              <a:t>Household 4 -</a:t>
            </a:r>
          </a:p>
        </p:txBody>
      </p:sp>
      <p:sp>
        <p:nvSpPr>
          <p:cNvPr id="1332" name="Text Box 1331"/>
          <p:cNvSpPr txBox="1">
            <a:spLocks noChangeArrowheads="1"/>
          </p:cNvSpPr>
          <p:nvPr/>
        </p:nvSpPr>
        <p:spPr bwMode="gray">
          <a:xfrm>
            <a:off x="540666" y="3298374"/>
            <a:ext cx="1765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altLang="en-US" sz="2000">
                <a:solidFill>
                  <a:schemeClr val="tx1"/>
                </a:solidFill>
              </a:rPr>
              <a:t>Household 1 -</a:t>
            </a:r>
          </a:p>
        </p:txBody>
      </p:sp>
      <p:sp>
        <p:nvSpPr>
          <p:cNvPr id="1333" name="Text Box 1332"/>
          <p:cNvSpPr txBox="1">
            <a:spLocks noChangeArrowheads="1"/>
          </p:cNvSpPr>
          <p:nvPr/>
        </p:nvSpPr>
        <p:spPr bwMode="gray">
          <a:xfrm>
            <a:off x="540666" y="4073074"/>
            <a:ext cx="1765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altLang="en-US" sz="2000">
                <a:solidFill>
                  <a:schemeClr val="tx1"/>
                </a:solidFill>
              </a:rPr>
              <a:t>Household 2 -</a:t>
            </a:r>
          </a:p>
        </p:txBody>
      </p:sp>
      <p:sp>
        <p:nvSpPr>
          <p:cNvPr id="1334" name="Text Box 1333"/>
          <p:cNvSpPr txBox="1">
            <a:spLocks noChangeArrowheads="1"/>
          </p:cNvSpPr>
          <p:nvPr/>
        </p:nvSpPr>
        <p:spPr bwMode="gray">
          <a:xfrm>
            <a:off x="540666" y="4758874"/>
            <a:ext cx="17653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SzTx/>
              <a:buFontTx/>
              <a:buNone/>
            </a:pPr>
            <a:r>
              <a:rPr lang="en-US" altLang="en-US" sz="2000">
                <a:solidFill>
                  <a:schemeClr val="tx1"/>
                </a:solidFill>
              </a:rPr>
              <a:t>Household 3 -</a:t>
            </a:r>
          </a:p>
        </p:txBody>
      </p:sp>
      <p:sp>
        <p:nvSpPr>
          <p:cNvPr id="1335" name="Rectangle 1334"/>
          <p:cNvSpPr>
            <a:spLocks noChangeArrowheads="1"/>
          </p:cNvSpPr>
          <p:nvPr/>
        </p:nvSpPr>
        <p:spPr bwMode="gray">
          <a:xfrm>
            <a:off x="163290" y="1128492"/>
            <a:ext cx="83820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 eaLnBrk="0" hangingPunct="0"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tabLst>
                <a:tab pos="228600" algn="l"/>
              </a:tabLst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20000"/>
              </a:spcBef>
              <a:buClr>
                <a:schemeClr val="tx1"/>
              </a:buClr>
              <a:buFont typeface="Wingdings 3" pitchFamily="18" charset="2"/>
              <a:buChar char=""/>
            </a:pPr>
            <a:r>
              <a:rPr lang="en-US" altLang="en-US" sz="2000" dirty="0">
                <a:solidFill>
                  <a:schemeClr val="tx1"/>
                </a:solidFill>
              </a:rPr>
              <a:t>Purchase pairs are calculated to measure affiliations among the items. Items which show high amount of switching will show a high level of affiliation.</a:t>
            </a:r>
          </a:p>
        </p:txBody>
      </p:sp>
      <p:sp>
        <p:nvSpPr>
          <p:cNvPr id="1336" name="Rectangle 1335"/>
          <p:cNvSpPr>
            <a:spLocks noGrp="1" noChangeArrowheads="1"/>
          </p:cNvSpPr>
          <p:nvPr>
            <p:ph type="title"/>
          </p:nvPr>
        </p:nvSpPr>
        <p:spPr>
          <a:xfrm>
            <a:off x="279400" y="239713"/>
            <a:ext cx="8407400" cy="955675"/>
          </a:xfrm>
          <a:noFill/>
        </p:spPr>
        <p:txBody>
          <a:bodyPr anchor="ctr"/>
          <a:lstStyle/>
          <a:p>
            <a:pPr eaLnBrk="1" hangingPunct="1"/>
            <a:r>
              <a:rPr lang="en-US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tep 1.  Calculate the Interaction from all purchases… (</a:t>
            </a:r>
            <a:r>
              <a:rPr lang="en-US" alt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cntd</a:t>
            </a:r>
            <a:r>
              <a:rPr lang="en-US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.) </a:t>
            </a:r>
          </a:p>
        </p:txBody>
      </p:sp>
      <p:sp>
        <p:nvSpPr>
          <p:cNvPr id="1337" name="Text Box 1337"/>
          <p:cNvSpPr txBox="1">
            <a:spLocks noChangeArrowheads="1"/>
          </p:cNvSpPr>
          <p:nvPr/>
        </p:nvSpPr>
        <p:spPr bwMode="auto">
          <a:xfrm>
            <a:off x="394865" y="2139499"/>
            <a:ext cx="64008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altLang="en-US" sz="2000" i="1" dirty="0">
                <a:solidFill>
                  <a:schemeClr val="tx1"/>
                </a:solidFill>
              </a:rPr>
              <a:t>Category purchases over the past 52 or 104 weeks</a:t>
            </a:r>
          </a:p>
        </p:txBody>
      </p:sp>
      <p:sp>
        <p:nvSpPr>
          <p:cNvPr id="1338" name="Rectangle 1338"/>
          <p:cNvSpPr>
            <a:spLocks noChangeArrowheads="1"/>
          </p:cNvSpPr>
          <p:nvPr/>
        </p:nvSpPr>
        <p:spPr bwMode="auto">
          <a:xfrm>
            <a:off x="7551066" y="4751862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39" name="Rectangle 1339"/>
          <p:cNvSpPr>
            <a:spLocks noChangeArrowheads="1"/>
          </p:cNvSpPr>
          <p:nvPr/>
        </p:nvSpPr>
        <p:spPr bwMode="auto">
          <a:xfrm>
            <a:off x="6636666" y="39079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0" name="Rectangle 1340"/>
          <p:cNvSpPr>
            <a:spLocks noChangeArrowheads="1"/>
          </p:cNvSpPr>
          <p:nvPr/>
        </p:nvSpPr>
        <p:spPr bwMode="auto">
          <a:xfrm>
            <a:off x="6255666" y="32221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1" name="Rectangle 1341"/>
          <p:cNvSpPr>
            <a:spLocks noChangeArrowheads="1"/>
          </p:cNvSpPr>
          <p:nvPr/>
        </p:nvSpPr>
        <p:spPr bwMode="auto">
          <a:xfrm>
            <a:off x="5493666" y="3222174"/>
            <a:ext cx="6858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2" name="Rectangle 1342"/>
          <p:cNvSpPr>
            <a:spLocks noChangeArrowheads="1"/>
          </p:cNvSpPr>
          <p:nvPr/>
        </p:nvSpPr>
        <p:spPr bwMode="auto">
          <a:xfrm>
            <a:off x="4655466" y="32221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3" name="Rectangle 1343"/>
          <p:cNvSpPr>
            <a:spLocks noChangeArrowheads="1"/>
          </p:cNvSpPr>
          <p:nvPr/>
        </p:nvSpPr>
        <p:spPr bwMode="auto">
          <a:xfrm>
            <a:off x="3817266" y="32221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4" name="Rectangle 1344"/>
          <p:cNvSpPr>
            <a:spLocks noChangeArrowheads="1"/>
          </p:cNvSpPr>
          <p:nvPr/>
        </p:nvSpPr>
        <p:spPr bwMode="auto">
          <a:xfrm>
            <a:off x="2979066" y="32221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5" name="Rectangle 1345"/>
          <p:cNvSpPr>
            <a:spLocks noChangeArrowheads="1"/>
          </p:cNvSpPr>
          <p:nvPr/>
        </p:nvSpPr>
        <p:spPr bwMode="auto">
          <a:xfrm>
            <a:off x="5798466" y="39079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6" name="Rectangle 1346"/>
          <p:cNvSpPr>
            <a:spLocks noChangeArrowheads="1"/>
          </p:cNvSpPr>
          <p:nvPr/>
        </p:nvSpPr>
        <p:spPr bwMode="auto">
          <a:xfrm>
            <a:off x="5036466" y="3907974"/>
            <a:ext cx="6858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7" name="Rectangle 1347"/>
          <p:cNvSpPr>
            <a:spLocks noChangeArrowheads="1"/>
          </p:cNvSpPr>
          <p:nvPr/>
        </p:nvSpPr>
        <p:spPr bwMode="auto">
          <a:xfrm>
            <a:off x="4198266" y="39079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8" name="Rectangle 1348"/>
          <p:cNvSpPr>
            <a:spLocks noChangeArrowheads="1"/>
          </p:cNvSpPr>
          <p:nvPr/>
        </p:nvSpPr>
        <p:spPr bwMode="auto">
          <a:xfrm>
            <a:off x="3360066" y="3899848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49" name="Rectangle 1349"/>
          <p:cNvSpPr>
            <a:spLocks noChangeArrowheads="1"/>
          </p:cNvSpPr>
          <p:nvPr/>
        </p:nvSpPr>
        <p:spPr bwMode="auto">
          <a:xfrm>
            <a:off x="7551066" y="54319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0" name="Rectangle 1350"/>
          <p:cNvSpPr>
            <a:spLocks noChangeArrowheads="1"/>
          </p:cNvSpPr>
          <p:nvPr/>
        </p:nvSpPr>
        <p:spPr bwMode="auto">
          <a:xfrm>
            <a:off x="6636666" y="4751862"/>
            <a:ext cx="8382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1" name="Rectangle 1351"/>
          <p:cNvSpPr>
            <a:spLocks noChangeArrowheads="1"/>
          </p:cNvSpPr>
          <p:nvPr/>
        </p:nvSpPr>
        <p:spPr bwMode="auto">
          <a:xfrm>
            <a:off x="6636666" y="5431974"/>
            <a:ext cx="8382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2" name="Rectangle 1352"/>
          <p:cNvSpPr>
            <a:spLocks noChangeArrowheads="1"/>
          </p:cNvSpPr>
          <p:nvPr/>
        </p:nvSpPr>
        <p:spPr bwMode="auto">
          <a:xfrm>
            <a:off x="5798466" y="4746174"/>
            <a:ext cx="8382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3" name="Rectangle 1353"/>
          <p:cNvSpPr>
            <a:spLocks noChangeArrowheads="1"/>
          </p:cNvSpPr>
          <p:nvPr/>
        </p:nvSpPr>
        <p:spPr bwMode="auto">
          <a:xfrm>
            <a:off x="5798466" y="5431974"/>
            <a:ext cx="8382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4" name="Rectangle 1354"/>
          <p:cNvSpPr>
            <a:spLocks noChangeArrowheads="1"/>
          </p:cNvSpPr>
          <p:nvPr/>
        </p:nvSpPr>
        <p:spPr bwMode="auto">
          <a:xfrm>
            <a:off x="5036466" y="4746174"/>
            <a:ext cx="6858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5" name="Rectangle 1355"/>
          <p:cNvSpPr>
            <a:spLocks noChangeArrowheads="1"/>
          </p:cNvSpPr>
          <p:nvPr/>
        </p:nvSpPr>
        <p:spPr bwMode="auto">
          <a:xfrm>
            <a:off x="5036466" y="5431974"/>
            <a:ext cx="6858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6" name="Rectangle 1356"/>
          <p:cNvSpPr>
            <a:spLocks noChangeArrowheads="1"/>
          </p:cNvSpPr>
          <p:nvPr/>
        </p:nvSpPr>
        <p:spPr bwMode="auto">
          <a:xfrm>
            <a:off x="4198266" y="47461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7" name="Rectangle 1357"/>
          <p:cNvSpPr>
            <a:spLocks noChangeArrowheads="1"/>
          </p:cNvSpPr>
          <p:nvPr/>
        </p:nvSpPr>
        <p:spPr bwMode="auto">
          <a:xfrm>
            <a:off x="4198266" y="54319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8" name="Rectangle 1358"/>
          <p:cNvSpPr>
            <a:spLocks noChangeArrowheads="1"/>
          </p:cNvSpPr>
          <p:nvPr/>
        </p:nvSpPr>
        <p:spPr bwMode="auto">
          <a:xfrm>
            <a:off x="3360066" y="4751862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59" name="Rectangle 1359"/>
          <p:cNvSpPr>
            <a:spLocks noChangeArrowheads="1"/>
          </p:cNvSpPr>
          <p:nvPr/>
        </p:nvSpPr>
        <p:spPr bwMode="auto">
          <a:xfrm>
            <a:off x="3360066" y="5431974"/>
            <a:ext cx="762000" cy="609600"/>
          </a:xfrm>
          <a:prstGeom prst="rect">
            <a:avLst/>
          </a:prstGeom>
          <a:noFill/>
          <a:ln w="222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2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2200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Font typeface="Wingdings 3" pitchFamily="18" charset="2"/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60" name="TextBox 1359"/>
          <p:cNvSpPr txBox="1"/>
          <p:nvPr/>
        </p:nvSpPr>
        <p:spPr>
          <a:xfrm>
            <a:off x="7326705" y="2536374"/>
            <a:ext cx="1436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</a:rPr>
              <a:t>Most recent purchase</a:t>
            </a:r>
          </a:p>
        </p:txBody>
      </p:sp>
      <p:cxnSp>
        <p:nvCxnSpPr>
          <p:cNvPr id="1361" name="Straight Arrow Connector 1360"/>
          <p:cNvCxnSpPr>
            <a:stCxn id="1360" idx="1"/>
          </p:cNvCxnSpPr>
          <p:nvPr/>
        </p:nvCxnSpPr>
        <p:spPr>
          <a:xfrm flipH="1">
            <a:off x="3988086" y="2797984"/>
            <a:ext cx="3338619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2" name="TextBox 1361"/>
          <p:cNvSpPr txBox="1"/>
          <p:nvPr/>
        </p:nvSpPr>
        <p:spPr>
          <a:xfrm>
            <a:off x="2888320" y="2543634"/>
            <a:ext cx="12843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</a:rPr>
              <a:t>Older</a:t>
            </a:r>
          </a:p>
          <a:p>
            <a:r>
              <a:rPr lang="en-US" sz="1400" b="1" dirty="0">
                <a:solidFill>
                  <a:srgbClr val="C00000"/>
                </a:solidFill>
              </a:rPr>
              <a:t>purchase</a:t>
            </a:r>
          </a:p>
        </p:txBody>
      </p:sp>
    </p:spTree>
    <p:extLst>
      <p:ext uri="{BB962C8B-B14F-4D97-AF65-F5344CB8AC3E}">
        <p14:creationId xmlns:p14="http://schemas.microsoft.com/office/powerpoint/2010/main" val="2356679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123800" y="304800"/>
            <a:ext cx="8711130" cy="631818"/>
          </a:xfrm>
          <a:noFill/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tep 2 :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Based on an affiliation index . . . Higher the affiliation, higher is the substitutability 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1524000" y="2286000"/>
            <a:ext cx="4488416" cy="9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975876" y="2058319"/>
            <a:ext cx="24359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  <a:tabLst>
                <a:tab pos="119063" algn="l"/>
              </a:tabLst>
            </a:pPr>
            <a:r>
              <a:rPr lang="en-US" sz="1100" b="1" dirty="0">
                <a:solidFill>
                  <a:schemeClr val="bg2">
                    <a:lumMod val="10000"/>
                  </a:schemeClr>
                </a:solidFill>
              </a:rPr>
              <a:t>Brand</a:t>
            </a: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856141" y="2721441"/>
            <a:ext cx="0" cy="2209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 rot="16200000">
            <a:off x="-465355" y="3582449"/>
            <a:ext cx="24359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  <a:tabLst>
                <a:tab pos="119063" algn="l"/>
              </a:tabLst>
            </a:pPr>
            <a:r>
              <a:rPr lang="en-US" sz="1100" b="1" dirty="0">
                <a:solidFill>
                  <a:schemeClr val="bg2">
                    <a:lumMod val="10000"/>
                  </a:schemeClr>
                </a:solidFill>
              </a:rPr>
              <a:t>Brand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5822787"/>
              </p:ext>
            </p:extLst>
          </p:nvPr>
        </p:nvGraphicFramePr>
        <p:xfrm>
          <a:off x="1143000" y="2530777"/>
          <a:ext cx="5486399" cy="2400463"/>
        </p:xfrm>
        <a:graphic>
          <a:graphicData uri="http://schemas.openxmlformats.org/drawingml/2006/table">
            <a:tbl>
              <a:tblPr/>
              <a:tblGrid>
                <a:gridCol w="19993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2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31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3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31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31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3798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p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k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ri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.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u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0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psi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0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ke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0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rite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81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. Dew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10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up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6934200" y="5652776"/>
            <a:ext cx="485800" cy="230832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7572400" y="5630840"/>
            <a:ext cx="1600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99% significance lev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371600"/>
            <a:ext cx="814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Purchase pairs are then converted to Affiliation Index based on switching between items vs. the share of the item</a:t>
            </a:r>
          </a:p>
        </p:txBody>
      </p:sp>
    </p:spTree>
    <p:extLst>
      <p:ext uri="{BB962C8B-B14F-4D97-AF65-F5344CB8AC3E}">
        <p14:creationId xmlns:p14="http://schemas.microsoft.com/office/powerpoint/2010/main" val="2440823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123800" y="304800"/>
            <a:ext cx="8711130" cy="631818"/>
          </a:xfrm>
          <a:noFill/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tep 3 :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Affiliation Indices are transformed into distances… smaller the distance , higher is the similarity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1798948" y="1566271"/>
            <a:ext cx="2447769" cy="9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250824" y="1338590"/>
            <a:ext cx="24359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  <a:tabLst>
                <a:tab pos="119063" algn="l"/>
              </a:tabLst>
            </a:pPr>
            <a:r>
              <a:rPr lang="en-US" sz="1100" b="1" dirty="0">
                <a:solidFill>
                  <a:schemeClr val="bg2">
                    <a:lumMod val="10000"/>
                  </a:schemeClr>
                </a:solidFill>
              </a:rPr>
              <a:t>Brand</a:t>
            </a: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324161" y="2421962"/>
            <a:ext cx="0" cy="9308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 rot="16200000">
            <a:off x="-497926" y="2250527"/>
            <a:ext cx="1409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  <a:tabLst>
                <a:tab pos="119063" algn="l"/>
              </a:tabLst>
            </a:pPr>
            <a:r>
              <a:rPr lang="en-US" sz="1100" b="1" dirty="0">
                <a:solidFill>
                  <a:schemeClr val="bg2">
                    <a:lumMod val="10000"/>
                  </a:schemeClr>
                </a:solidFill>
              </a:rPr>
              <a:t>Brand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5442231"/>
              </p:ext>
            </p:extLst>
          </p:nvPr>
        </p:nvGraphicFramePr>
        <p:xfrm>
          <a:off x="410228" y="1676401"/>
          <a:ext cx="4466571" cy="1828799"/>
        </p:xfrm>
        <a:graphic>
          <a:graphicData uri="http://schemas.openxmlformats.org/drawingml/2006/table">
            <a:tbl>
              <a:tblPr/>
              <a:tblGrid>
                <a:gridCol w="16277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91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99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99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99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99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9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ps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k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ri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.</a:t>
                      </a: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u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4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psi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4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ke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74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rite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90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. Dew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4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up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6E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Curved Down Arrow 6"/>
          <p:cNvSpPr/>
          <p:nvPr/>
        </p:nvSpPr>
        <p:spPr>
          <a:xfrm rot="5400000">
            <a:off x="4694519" y="3458881"/>
            <a:ext cx="1600200" cy="930838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723425"/>
              </p:ext>
            </p:extLst>
          </p:nvPr>
        </p:nvGraphicFramePr>
        <p:xfrm>
          <a:off x="410138" y="3886200"/>
          <a:ext cx="4501916" cy="1744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545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78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78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05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105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105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770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Descrip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Peps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</a:rPr>
                        <a:t>Cok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</a:rPr>
                        <a:t>Spri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</a:rPr>
                        <a:t>Mt. Dew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</a:rPr>
                        <a:t>7 up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Peps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0.00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7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Cok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0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0.0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0.0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Spri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0.00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0.007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80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Mt. Dew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0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0.007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7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7 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0.007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>
                          <a:effectLst/>
                        </a:rPr>
                        <a:t>0.007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094719" y="2773740"/>
            <a:ext cx="307788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ke, Pepsi have the smallest distance with each other.</a:t>
            </a: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imilarly, Mt. Dew, Sprite and 7 Up have smallest distance with each other</a:t>
            </a:r>
          </a:p>
        </p:txBody>
      </p:sp>
    </p:spTree>
    <p:extLst>
      <p:ext uri="{BB962C8B-B14F-4D97-AF65-F5344CB8AC3E}">
        <p14:creationId xmlns:p14="http://schemas.microsoft.com/office/powerpoint/2010/main" val="3748368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UuDNPWRB.X2pZCc7a3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p_JYBJTgaDATYVfY9M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Pv_YeXQIuHH4Ot5gW9lQ"/>
</p:tagLst>
</file>

<file path=ppt/theme/theme1.xml><?xml version="1.0" encoding="utf-8"?>
<a:theme xmlns:a="http://schemas.openxmlformats.org/drawingml/2006/main" name="PowerPoint Template">
  <a:themeElements>
    <a:clrScheme name="IRi Documents">
      <a:dk1>
        <a:srgbClr val="616365"/>
      </a:dk1>
      <a:lt1>
        <a:sysClr val="window" lastClr="FFFFFF"/>
      </a:lt1>
      <a:dk2>
        <a:srgbClr val="616365"/>
      </a:dk2>
      <a:lt2>
        <a:srgbClr val="E0E1DD"/>
      </a:lt2>
      <a:accent1>
        <a:srgbClr val="002776"/>
      </a:accent1>
      <a:accent2>
        <a:srgbClr val="D2492A"/>
      </a:accent2>
      <a:accent3>
        <a:srgbClr val="009FDA"/>
      </a:accent3>
      <a:accent4>
        <a:srgbClr val="002776"/>
      </a:accent4>
      <a:accent5>
        <a:srgbClr val="D2492A"/>
      </a:accent5>
      <a:accent6>
        <a:srgbClr val="009FDA"/>
      </a:accent6>
      <a:hlink>
        <a:srgbClr val="009FDA"/>
      </a:hlink>
      <a:folHlink>
        <a:srgbClr val="002776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96</TotalTime>
  <Words>1427</Words>
  <Application>Microsoft Office PowerPoint</Application>
  <PresentationFormat>On-screen Show (4:3)</PresentationFormat>
  <Paragraphs>329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ourier New</vt:lpstr>
      <vt:lpstr>Times New Roman</vt:lpstr>
      <vt:lpstr>Verdana</vt:lpstr>
      <vt:lpstr>Wingdings 3</vt:lpstr>
      <vt:lpstr>PowerPoint Template</vt:lpstr>
      <vt:lpstr>think-cell Slide</vt:lpstr>
      <vt:lpstr>Clip</vt:lpstr>
      <vt:lpstr>Dendrogram Overview</vt:lpstr>
      <vt:lpstr>What is a Dendrogram??</vt:lpstr>
      <vt:lpstr>Dendrogram Methodology</vt:lpstr>
      <vt:lpstr>Dendrogram Timing &amp; Best Practice Approach/Application</vt:lpstr>
      <vt:lpstr>The Item analysis (Dendrogram) is based on panelist buying behavior to determine items that should cluster together</vt:lpstr>
      <vt:lpstr>Step 1.  Construct the Input Database</vt:lpstr>
      <vt:lpstr>Step 1.  Calculate the Interaction from all purchases… (cntd.) </vt:lpstr>
      <vt:lpstr>Step 2 : Based on an affiliation index . . . Higher the affiliation, higher is the substitutability </vt:lpstr>
      <vt:lpstr>Step 3 : Affiliation Indices are transformed into distances… smaller the distance , higher is the similarity</vt:lpstr>
      <vt:lpstr>Step 4 : Use the distances to then cluster items based on smallest to largest distances</vt:lpstr>
      <vt:lpstr>Step-by-Step Example Dendrogram (Item Analysis): Candles OpStudy</vt:lpstr>
      <vt:lpstr>Use Case of a high-level decision tree:  Candles Evaluating and Exporting the product groupings…</vt:lpstr>
      <vt:lpstr>Use Case of a high-level decision tree:  Candles Chart view and Grid view</vt:lpstr>
      <vt:lpstr>PowerPoint Presentation</vt:lpstr>
      <vt:lpstr>Macro Customer Decision Tree in Unify = Item Analysis Reports Use Case high-level decision tree:  Candles</vt:lpstr>
    </vt:vector>
  </TitlesOfParts>
  <Company>IR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ing Shopper Behavior to Optimize Forecasts and Business Plans</dc:title>
  <dc:creator>User</dc:creator>
  <cp:lastModifiedBy>Powar, Abhay</cp:lastModifiedBy>
  <cp:revision>292</cp:revision>
  <dcterms:created xsi:type="dcterms:W3CDTF">2015-02-18T15:26:48Z</dcterms:created>
  <dcterms:modified xsi:type="dcterms:W3CDTF">2019-02-25T06:18:46Z</dcterms:modified>
</cp:coreProperties>
</file>